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1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slides/slide210.xml" ContentType="application/vnd.openxmlformats-officedocument.presentationml.slide+xml"/>
  <Override PartName="/ppt/slides/slide45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2" r:id="rId4"/>
    <p:sldMasterId id="2147483782" r:id="rId5"/>
    <p:sldMasterId id="2147483838" r:id="rId6"/>
  </p:sldMasterIdLst>
  <p:notesMasterIdLst>
    <p:notesMasterId r:id="rId36"/>
  </p:notesMasterIdLst>
  <p:handoutMasterIdLst>
    <p:handoutMasterId r:id="rId37"/>
  </p:handoutMasterIdLst>
  <p:sldIdLst>
    <p:sldId id="396" r:id="rId7"/>
    <p:sldId id="4185" r:id="rId8"/>
    <p:sldId id="4186" r:id="rId9"/>
    <p:sldId id="4188" r:id="rId10"/>
    <p:sldId id="4178" r:id="rId11"/>
    <p:sldId id="394" r:id="rId12"/>
    <p:sldId id="4169" r:id="rId13"/>
    <p:sldId id="266" r:id="rId14"/>
    <p:sldId id="386" r:id="rId15"/>
    <p:sldId id="393" r:id="rId16"/>
    <p:sldId id="395" r:id="rId17"/>
    <p:sldId id="2007577724" r:id="rId18"/>
    <p:sldId id="420" r:id="rId19"/>
    <p:sldId id="2007577726" r:id="rId20"/>
    <p:sldId id="4942" r:id="rId21"/>
    <p:sldId id="4993" r:id="rId22"/>
    <p:sldId id="4966" r:id="rId23"/>
    <p:sldId id="4972" r:id="rId24"/>
    <p:sldId id="4970" r:id="rId25"/>
    <p:sldId id="26062" r:id="rId26"/>
    <p:sldId id="26125" r:id="rId27"/>
    <p:sldId id="26201" r:id="rId28"/>
    <p:sldId id="26192" r:id="rId29"/>
    <p:sldId id="4216" r:id="rId30"/>
    <p:sldId id="310" r:id="rId31"/>
    <p:sldId id="308" r:id="rId32"/>
    <p:sldId id="312" r:id="rId33"/>
    <p:sldId id="4215" r:id="rId34"/>
    <p:sldId id="4174" r:id="rId35"/>
  </p:sldIdLst>
  <p:sldSz cx="12192000" cy="6858000"/>
  <p:notesSz cx="6858000" cy="9144000"/>
  <p:defaultTextStyle>
    <a:defPPr>
      <a:defRPr lang="en-US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E72F7C7-165D-4FA2-A395-1530904172C8}">
          <p14:sldIdLst>
            <p14:sldId id="396"/>
          </p14:sldIdLst>
        </p14:section>
        <p14:section name="COMPANY" id="{4030F54D-0A57-4CEA-9F5E-4CBC04742239}">
          <p14:sldIdLst>
            <p14:sldId id="4185"/>
            <p14:sldId id="4186"/>
            <p14:sldId id="4188"/>
          </p14:sldIdLst>
        </p14:section>
        <p14:section name="SOLUTIONS" id="{6CCCBBD3-7E09-4C69-AE1F-D36850E77DB9}">
          <p14:sldIdLst>
            <p14:sldId id="4178"/>
            <p14:sldId id="394"/>
            <p14:sldId id="4169"/>
            <p14:sldId id="266"/>
            <p14:sldId id="386"/>
            <p14:sldId id="393"/>
            <p14:sldId id="395"/>
            <p14:sldId id="2007577724"/>
            <p14:sldId id="420"/>
            <p14:sldId id="2007577726"/>
            <p14:sldId id="4942"/>
            <p14:sldId id="4993"/>
            <p14:sldId id="4966"/>
            <p14:sldId id="4972"/>
            <p14:sldId id="4970"/>
            <p14:sldId id="26062"/>
            <p14:sldId id="26125"/>
            <p14:sldId id="26201"/>
            <p14:sldId id="26192"/>
            <p14:sldId id="4216"/>
            <p14:sldId id="310"/>
            <p14:sldId id="308"/>
            <p14:sldId id="312"/>
          </p14:sldIdLst>
        </p14:section>
        <p14:section name="PEOPLE" id="{21ACC5B8-3A59-44E4-906C-2CC08CE0349D}">
          <p14:sldIdLst>
            <p14:sldId id="4215"/>
          </p14:sldIdLst>
        </p14:section>
        <p14:section name="MAIN SECTION" id="{DB8D1BDD-45A3-4C56-A8D4-E87EF13D9124}">
          <p14:sldIdLst>
            <p14:sldId id="417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ve Wishman" initials="SW" lastIdx="1" clrIdx="0">
    <p:extLst>
      <p:ext uri="{19B8F6BF-5375-455C-9EA6-DF929625EA0E}">
        <p15:presenceInfo xmlns:p15="http://schemas.microsoft.com/office/powerpoint/2012/main" userId="Steve Wishm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AF4"/>
    <a:srgbClr val="002F87"/>
    <a:srgbClr val="0780BF"/>
    <a:srgbClr val="FFFFFF"/>
    <a:srgbClr val="285A93"/>
    <a:srgbClr val="FC9318"/>
    <a:srgbClr val="0056A9"/>
    <a:srgbClr val="00AEF9"/>
    <a:srgbClr val="00AAF5"/>
    <a:srgbClr val="009A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2C23394-0D49-4BC8-961C-591FF8985C1B}" v="15" dt="2021-02-22T14:07:52.66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597" autoAdjust="0"/>
    <p:restoredTop sz="94692" autoAdjust="0"/>
  </p:normalViewPr>
  <p:slideViewPr>
    <p:cSldViewPr snapToGrid="0">
      <p:cViewPr>
        <p:scale>
          <a:sx n="232" d="100"/>
          <a:sy n="232" d="100"/>
        </p:scale>
        <p:origin x="-3654" y="-2676"/>
      </p:cViewPr>
      <p:guideLst>
        <p:guide orient="horz" pos="2160"/>
        <p:guide pos="3840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microsoft.com/office/2015/10/relationships/revisionInfo" Target="revisionInfo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image" Target="../media/image89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image" Target="../media/image89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515872C-AAEC-412F-9B22-BC473D3C6D02}" type="doc">
      <dgm:prSet loTypeId="urn:microsoft.com/office/officeart/2005/8/layout/hProcess10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7AE78992-410E-470A-A10D-68537F4B017D}">
      <dgm:prSet/>
      <dgm:spPr/>
      <dgm:t>
        <a:bodyPr/>
        <a:lstStyle/>
        <a:p>
          <a:r>
            <a:rPr lang="en-US"/>
            <a:t> 1. Selection </a:t>
          </a:r>
        </a:p>
      </dgm:t>
    </dgm:pt>
    <dgm:pt modelId="{6E1F81B4-BD34-4B21-B589-C7E70231DA35}" type="parTrans" cxnId="{15C4CC5F-9542-46A1-8012-FB44B5A93E1F}">
      <dgm:prSet/>
      <dgm:spPr/>
      <dgm:t>
        <a:bodyPr/>
        <a:lstStyle/>
        <a:p>
          <a:endParaRPr lang="en-US"/>
        </a:p>
      </dgm:t>
    </dgm:pt>
    <dgm:pt modelId="{C440635F-CCC0-455F-AA04-399EB7083375}" type="sibTrans" cxnId="{15C4CC5F-9542-46A1-8012-FB44B5A93E1F}">
      <dgm:prSet/>
      <dgm:spPr/>
      <dgm:t>
        <a:bodyPr/>
        <a:lstStyle/>
        <a:p>
          <a:endParaRPr lang="en-US"/>
        </a:p>
      </dgm:t>
    </dgm:pt>
    <dgm:pt modelId="{4D7B94DA-9FEC-46BA-86F2-D73112B26661}">
      <dgm:prSet/>
      <dgm:spPr/>
      <dgm:t>
        <a:bodyPr/>
        <a:lstStyle/>
        <a:p>
          <a:r>
            <a:rPr lang="en-US"/>
            <a:t>Select Authentication and Content Filtering</a:t>
          </a:r>
        </a:p>
      </dgm:t>
    </dgm:pt>
    <dgm:pt modelId="{68FD2B2B-2850-47FF-AEFB-BD0891A34C7C}" type="parTrans" cxnId="{C18CC0D1-2E85-40FC-8C8B-EFAE64F4C7DC}">
      <dgm:prSet/>
      <dgm:spPr/>
      <dgm:t>
        <a:bodyPr/>
        <a:lstStyle/>
        <a:p>
          <a:endParaRPr lang="en-US"/>
        </a:p>
      </dgm:t>
    </dgm:pt>
    <dgm:pt modelId="{7164D35C-DFA0-4F1C-B795-716B39FC4CCF}" type="sibTrans" cxnId="{C18CC0D1-2E85-40FC-8C8B-EFAE64F4C7DC}">
      <dgm:prSet/>
      <dgm:spPr/>
      <dgm:t>
        <a:bodyPr/>
        <a:lstStyle/>
        <a:p>
          <a:endParaRPr lang="en-US"/>
        </a:p>
      </dgm:t>
    </dgm:pt>
    <dgm:pt modelId="{A976E161-E3E9-4093-A471-DDBB836DD700}">
      <dgm:prSet/>
      <dgm:spPr/>
      <dgm:t>
        <a:bodyPr/>
        <a:lstStyle/>
        <a:p>
          <a:r>
            <a:rPr lang="en-US"/>
            <a:t>Provide list of addresses</a:t>
          </a:r>
        </a:p>
      </dgm:t>
    </dgm:pt>
    <dgm:pt modelId="{F5A362F7-6110-4172-BAD4-101A059C509F}" type="parTrans" cxnId="{74EC4738-9D4B-452B-9DCC-3DAAC60C3A8D}">
      <dgm:prSet/>
      <dgm:spPr/>
      <dgm:t>
        <a:bodyPr/>
        <a:lstStyle/>
        <a:p>
          <a:endParaRPr lang="en-US"/>
        </a:p>
      </dgm:t>
    </dgm:pt>
    <dgm:pt modelId="{DE0F0B8C-75FC-402E-B6F3-BBEB48E1AE0C}" type="sibTrans" cxnId="{74EC4738-9D4B-452B-9DCC-3DAAC60C3A8D}">
      <dgm:prSet/>
      <dgm:spPr/>
      <dgm:t>
        <a:bodyPr/>
        <a:lstStyle/>
        <a:p>
          <a:endParaRPr lang="en-US"/>
        </a:p>
      </dgm:t>
    </dgm:pt>
    <dgm:pt modelId="{0E930CAC-CCE1-46F1-8CAA-70085F74E01A}">
      <dgm:prSet/>
      <dgm:spPr/>
      <dgm:t>
        <a:bodyPr/>
        <a:lstStyle/>
        <a:p>
          <a:r>
            <a:rPr lang="en-US"/>
            <a:t> 2. Data Prep</a:t>
          </a:r>
        </a:p>
      </dgm:t>
    </dgm:pt>
    <dgm:pt modelId="{CEABE6D3-A75D-45C5-85C6-6347C11A32CE}" type="parTrans" cxnId="{307849DA-E200-4BDE-B36C-70E34534AAFE}">
      <dgm:prSet/>
      <dgm:spPr/>
      <dgm:t>
        <a:bodyPr/>
        <a:lstStyle/>
        <a:p>
          <a:endParaRPr lang="en-US"/>
        </a:p>
      </dgm:t>
    </dgm:pt>
    <dgm:pt modelId="{90F860A2-50F0-4E15-9724-B5749A2EAE67}" type="sibTrans" cxnId="{307849DA-E200-4BDE-B36C-70E34534AAFE}">
      <dgm:prSet/>
      <dgm:spPr/>
      <dgm:t>
        <a:bodyPr/>
        <a:lstStyle/>
        <a:p>
          <a:endParaRPr lang="en-US"/>
        </a:p>
      </dgm:t>
    </dgm:pt>
    <dgm:pt modelId="{B20DF32D-651A-4240-AE81-1025FFFFE575}">
      <dgm:prSet/>
      <dgm:spPr/>
      <dgm:t>
        <a:bodyPr/>
        <a:lstStyle/>
        <a:p>
          <a:r>
            <a:rPr lang="en-US"/>
            <a:t>Equipment model, speed</a:t>
          </a:r>
        </a:p>
      </dgm:t>
    </dgm:pt>
    <dgm:pt modelId="{07DFD45B-34BC-40B3-B5E0-2A90975AB5C9}" type="parTrans" cxnId="{7937B35E-A469-4FC8-8B1E-F89B0AF16352}">
      <dgm:prSet/>
      <dgm:spPr/>
      <dgm:t>
        <a:bodyPr/>
        <a:lstStyle/>
        <a:p>
          <a:endParaRPr lang="en-US"/>
        </a:p>
      </dgm:t>
    </dgm:pt>
    <dgm:pt modelId="{D78874B2-BACE-4FCE-B11A-E31C0F17E941}" type="sibTrans" cxnId="{7937B35E-A469-4FC8-8B1E-F89B0AF16352}">
      <dgm:prSet/>
      <dgm:spPr/>
      <dgm:t>
        <a:bodyPr/>
        <a:lstStyle/>
        <a:p>
          <a:endParaRPr lang="en-US"/>
        </a:p>
      </dgm:t>
    </dgm:pt>
    <dgm:pt modelId="{309C36C1-953E-40D8-A05A-99CADE6980BB}">
      <dgm:prSet/>
      <dgm:spPr/>
      <dgm:t>
        <a:bodyPr/>
        <a:lstStyle/>
        <a:p>
          <a:r>
            <a:rPr lang="en-US"/>
            <a:t>Prepare address disposition</a:t>
          </a:r>
        </a:p>
      </dgm:t>
    </dgm:pt>
    <dgm:pt modelId="{D38A46B4-D9CB-4602-A55E-52758ADE53E8}" type="parTrans" cxnId="{FA068AFF-DC5F-4D0A-8B5B-C1A07C48A516}">
      <dgm:prSet/>
      <dgm:spPr/>
      <dgm:t>
        <a:bodyPr/>
        <a:lstStyle/>
        <a:p>
          <a:endParaRPr lang="en-US"/>
        </a:p>
      </dgm:t>
    </dgm:pt>
    <dgm:pt modelId="{842DAD3B-1546-45D9-B748-335A5AEF6EB8}" type="sibTrans" cxnId="{FA068AFF-DC5F-4D0A-8B5B-C1A07C48A516}">
      <dgm:prSet/>
      <dgm:spPr/>
      <dgm:t>
        <a:bodyPr/>
        <a:lstStyle/>
        <a:p>
          <a:endParaRPr lang="en-US"/>
        </a:p>
      </dgm:t>
    </dgm:pt>
    <dgm:pt modelId="{A2F68E07-1DA2-46A9-A44C-9C64026A6946}">
      <dgm:prSet/>
      <dgm:spPr/>
      <dgm:t>
        <a:bodyPr/>
        <a:lstStyle/>
        <a:p>
          <a:r>
            <a:rPr lang="en-US"/>
            <a:t> 3. Parent Portal</a:t>
          </a:r>
        </a:p>
      </dgm:t>
    </dgm:pt>
    <dgm:pt modelId="{D3F8F013-F57E-4871-BB3D-DDEAFEB5215F}" type="parTrans" cxnId="{3363BD4C-4889-428F-A98E-769A377B4D19}">
      <dgm:prSet/>
      <dgm:spPr/>
      <dgm:t>
        <a:bodyPr/>
        <a:lstStyle/>
        <a:p>
          <a:endParaRPr lang="en-US"/>
        </a:p>
      </dgm:t>
    </dgm:pt>
    <dgm:pt modelId="{D01BF51A-05DA-4C33-9F2D-8AC85AD474F8}" type="sibTrans" cxnId="{3363BD4C-4889-428F-A98E-769A377B4D19}">
      <dgm:prSet/>
      <dgm:spPr/>
      <dgm:t>
        <a:bodyPr/>
        <a:lstStyle/>
        <a:p>
          <a:endParaRPr lang="en-US"/>
        </a:p>
      </dgm:t>
    </dgm:pt>
    <dgm:pt modelId="{75F4C355-E81B-4B2D-B1BC-1D2EFB9FE7D9}">
      <dgm:prSet/>
      <dgm:spPr/>
      <dgm:t>
        <a:bodyPr/>
        <a:lstStyle/>
        <a:p>
          <a:r>
            <a:rPr lang="en-US"/>
            <a:t>Families agree to subsidy and sign-up for service (if applicable)</a:t>
          </a:r>
        </a:p>
      </dgm:t>
    </dgm:pt>
    <dgm:pt modelId="{6ADFA6BC-D39D-4BBF-8C82-EBAF7BC39D7F}" type="parTrans" cxnId="{6C94E306-D2E0-403F-BA98-58BA2BD8D113}">
      <dgm:prSet/>
      <dgm:spPr/>
      <dgm:t>
        <a:bodyPr/>
        <a:lstStyle/>
        <a:p>
          <a:endParaRPr lang="en-US"/>
        </a:p>
      </dgm:t>
    </dgm:pt>
    <dgm:pt modelId="{6C413BB9-5448-4AC3-917A-6DA3A4055DD9}" type="sibTrans" cxnId="{6C94E306-D2E0-403F-BA98-58BA2BD8D113}">
      <dgm:prSet/>
      <dgm:spPr/>
      <dgm:t>
        <a:bodyPr/>
        <a:lstStyle/>
        <a:p>
          <a:endParaRPr lang="en-US"/>
        </a:p>
      </dgm:t>
    </dgm:pt>
    <dgm:pt modelId="{A9C1A4F7-0560-419C-9313-D5D8477E404C}">
      <dgm:prSet/>
      <dgm:spPr/>
      <dgm:t>
        <a:bodyPr/>
        <a:lstStyle/>
        <a:p>
          <a:r>
            <a:rPr lang="en-US"/>
            <a:t>Share with families Parent Portal</a:t>
          </a:r>
        </a:p>
      </dgm:t>
    </dgm:pt>
    <dgm:pt modelId="{4393B596-1E15-4544-8EED-65ACC5658A5A}" type="sibTrans" cxnId="{D6239E24-DCBB-476A-B59C-AD6E3A5BE421}">
      <dgm:prSet/>
      <dgm:spPr/>
      <dgm:t>
        <a:bodyPr/>
        <a:lstStyle/>
        <a:p>
          <a:endParaRPr lang="en-US"/>
        </a:p>
      </dgm:t>
    </dgm:pt>
    <dgm:pt modelId="{7CB4F8FF-3B77-416A-9051-AF832A48890B}" type="parTrans" cxnId="{D6239E24-DCBB-476A-B59C-AD6E3A5BE421}">
      <dgm:prSet/>
      <dgm:spPr/>
      <dgm:t>
        <a:bodyPr/>
        <a:lstStyle/>
        <a:p>
          <a:endParaRPr lang="en-US"/>
        </a:p>
      </dgm:t>
    </dgm:pt>
    <dgm:pt modelId="{31557CAA-CB9F-4A0A-A246-0832A8389042}">
      <dgm:prSet/>
      <dgm:spPr/>
      <dgm:t>
        <a:bodyPr/>
        <a:lstStyle/>
        <a:p>
          <a:r>
            <a:rPr lang="en-US"/>
            <a:t>Check Serviceability</a:t>
          </a:r>
        </a:p>
      </dgm:t>
    </dgm:pt>
    <dgm:pt modelId="{55C90EAB-FAD1-4F6C-A7F8-4D77FCB2FD6E}" type="sibTrans" cxnId="{E35E5AF5-9BBE-45F7-8D48-EBE4075DF44F}">
      <dgm:prSet/>
      <dgm:spPr/>
      <dgm:t>
        <a:bodyPr/>
        <a:lstStyle/>
        <a:p>
          <a:endParaRPr lang="en-US"/>
        </a:p>
      </dgm:t>
    </dgm:pt>
    <dgm:pt modelId="{6C7A1982-F835-4D54-80BA-1E03C5AFD4D3}" type="parTrans" cxnId="{E35E5AF5-9BBE-45F7-8D48-EBE4075DF44F}">
      <dgm:prSet/>
      <dgm:spPr/>
      <dgm:t>
        <a:bodyPr/>
        <a:lstStyle/>
        <a:p>
          <a:endParaRPr lang="en-US"/>
        </a:p>
      </dgm:t>
    </dgm:pt>
    <dgm:pt modelId="{C2D87E1D-8ACD-4C76-9760-81C29C684DEF}">
      <dgm:prSet/>
      <dgm:spPr/>
      <dgm:t>
        <a:bodyPr/>
        <a:lstStyle/>
        <a:p>
          <a:r>
            <a:rPr lang="en-US"/>
            <a:t>Confirm plans to pay a subsidy per student/family</a:t>
          </a:r>
        </a:p>
      </dgm:t>
    </dgm:pt>
    <dgm:pt modelId="{73D5D4CD-F982-4833-BD03-F8DA37CA1051}" type="sibTrans" cxnId="{D937B975-C1C7-427A-A176-5F4F560C0E3A}">
      <dgm:prSet/>
      <dgm:spPr/>
      <dgm:t>
        <a:bodyPr/>
        <a:lstStyle/>
        <a:p>
          <a:endParaRPr lang="en-US"/>
        </a:p>
      </dgm:t>
    </dgm:pt>
    <dgm:pt modelId="{A66235C3-E9DD-46BB-92A9-E3D4461976A6}" type="parTrans" cxnId="{D937B975-C1C7-427A-A176-5F4F560C0E3A}">
      <dgm:prSet/>
      <dgm:spPr/>
      <dgm:t>
        <a:bodyPr/>
        <a:lstStyle/>
        <a:p>
          <a:endParaRPr lang="en-US"/>
        </a:p>
      </dgm:t>
    </dgm:pt>
    <dgm:pt modelId="{8E636FE5-9D88-4EC1-8EC7-9F39F26EBD52}">
      <dgm:prSet/>
      <dgm:spPr/>
      <dgm:t>
        <a:bodyPr/>
        <a:lstStyle/>
        <a:p>
          <a:r>
            <a:rPr lang="en-US"/>
            <a:t>Self-Install kit</a:t>
          </a:r>
        </a:p>
      </dgm:t>
    </dgm:pt>
    <dgm:pt modelId="{6E0D2112-B7D0-4940-A5B9-51F311388FB4}" type="parTrans" cxnId="{3FCC9F3C-88D3-407E-9A30-431AB3A508D5}">
      <dgm:prSet/>
      <dgm:spPr/>
      <dgm:t>
        <a:bodyPr/>
        <a:lstStyle/>
        <a:p>
          <a:endParaRPr lang="en-US"/>
        </a:p>
      </dgm:t>
    </dgm:pt>
    <dgm:pt modelId="{3D336E3F-3814-4EEF-8C07-FE452C56566C}" type="sibTrans" cxnId="{3FCC9F3C-88D3-407E-9A30-431AB3A508D5}">
      <dgm:prSet/>
      <dgm:spPr/>
      <dgm:t>
        <a:bodyPr/>
        <a:lstStyle/>
        <a:p>
          <a:endParaRPr lang="en-US"/>
        </a:p>
      </dgm:t>
    </dgm:pt>
    <dgm:pt modelId="{4C09D59B-BE13-4E2B-9D1E-B27A244646C4}">
      <dgm:prSet/>
      <dgm:spPr/>
      <dgm:t>
        <a:bodyPr/>
        <a:lstStyle/>
        <a:p>
          <a:r>
            <a:rPr lang="en-US"/>
            <a:t>Avoid Downgrades</a:t>
          </a:r>
        </a:p>
      </dgm:t>
    </dgm:pt>
    <dgm:pt modelId="{205A650E-E9B0-4F39-B1EF-1407549A0FEE}" type="parTrans" cxnId="{3B026B8D-F2CC-41F9-B38D-3EE4F9EDE62F}">
      <dgm:prSet/>
      <dgm:spPr/>
      <dgm:t>
        <a:bodyPr/>
        <a:lstStyle/>
        <a:p>
          <a:endParaRPr lang="en-US"/>
        </a:p>
      </dgm:t>
    </dgm:pt>
    <dgm:pt modelId="{40C7B55E-3929-421A-B9B7-8D47BFC18EC6}" type="sibTrans" cxnId="{3B026B8D-F2CC-41F9-B38D-3EE4F9EDE62F}">
      <dgm:prSet/>
      <dgm:spPr/>
      <dgm:t>
        <a:bodyPr/>
        <a:lstStyle/>
        <a:p>
          <a:endParaRPr lang="en-US"/>
        </a:p>
      </dgm:t>
    </dgm:pt>
    <dgm:pt modelId="{D27DCB93-61A7-45CE-89B9-23EDBF5106FC}">
      <dgm:prSet/>
      <dgm:spPr/>
      <dgm:t>
        <a:bodyPr/>
        <a:lstStyle/>
        <a:p>
          <a:r>
            <a:rPr lang="en-US"/>
            <a:t>School Portal (Phase 1) targeting release first week of August</a:t>
          </a:r>
        </a:p>
      </dgm:t>
    </dgm:pt>
    <dgm:pt modelId="{41341133-AD75-4787-B2CF-AD6D70C3EB4E}" type="parTrans" cxnId="{B7815815-6CC8-4ECC-AEC5-09468EB0BA32}">
      <dgm:prSet/>
      <dgm:spPr/>
      <dgm:t>
        <a:bodyPr/>
        <a:lstStyle/>
        <a:p>
          <a:endParaRPr lang="en-US"/>
        </a:p>
      </dgm:t>
    </dgm:pt>
    <dgm:pt modelId="{A84CED3E-2D58-4EAC-864B-A3C2F391C455}" type="sibTrans" cxnId="{B7815815-6CC8-4ECC-AEC5-09468EB0BA32}">
      <dgm:prSet/>
      <dgm:spPr/>
      <dgm:t>
        <a:bodyPr/>
        <a:lstStyle/>
        <a:p>
          <a:endParaRPr lang="en-US"/>
        </a:p>
      </dgm:t>
    </dgm:pt>
    <dgm:pt modelId="{1D750E80-9C88-4149-9512-2DB77E02547D}">
      <dgm:prSet/>
      <dgm:spPr/>
      <dgm:t>
        <a:bodyPr/>
        <a:lstStyle/>
        <a:p>
          <a:r>
            <a:rPr lang="en-US"/>
            <a:t>Parent Portal targeting release first week of August</a:t>
          </a:r>
        </a:p>
      </dgm:t>
    </dgm:pt>
    <dgm:pt modelId="{85643F12-BE57-4F61-97A9-01C2A5FBBBE9}" type="parTrans" cxnId="{C90258EC-B870-4E28-B32E-A516F17EE45F}">
      <dgm:prSet/>
      <dgm:spPr/>
      <dgm:t>
        <a:bodyPr/>
        <a:lstStyle/>
        <a:p>
          <a:endParaRPr lang="en-US"/>
        </a:p>
      </dgm:t>
    </dgm:pt>
    <dgm:pt modelId="{353FD4EA-9670-4F7B-864B-9E28DDCAD9FA}" type="sibTrans" cxnId="{C90258EC-B870-4E28-B32E-A516F17EE45F}">
      <dgm:prSet/>
      <dgm:spPr/>
      <dgm:t>
        <a:bodyPr/>
        <a:lstStyle/>
        <a:p>
          <a:endParaRPr lang="en-US"/>
        </a:p>
      </dgm:t>
    </dgm:pt>
    <dgm:pt modelId="{224BB864-8C4A-4ECB-A874-A0A7F21A06A0}" type="pres">
      <dgm:prSet presAssocID="{3515872C-AAEC-412F-9B22-BC473D3C6D02}" presName="Name0" presStyleCnt="0">
        <dgm:presLayoutVars>
          <dgm:dir/>
          <dgm:resizeHandles val="exact"/>
        </dgm:presLayoutVars>
      </dgm:prSet>
      <dgm:spPr/>
    </dgm:pt>
    <dgm:pt modelId="{24690571-A462-4901-A9CB-ADEA560E5E02}" type="pres">
      <dgm:prSet presAssocID="{7AE78992-410E-470A-A10D-68537F4B017D}" presName="composite" presStyleCnt="0"/>
      <dgm:spPr/>
    </dgm:pt>
    <dgm:pt modelId="{7860786C-6B21-4525-A7FA-2E0C74C6CCA9}" type="pres">
      <dgm:prSet presAssocID="{7AE78992-410E-470A-A10D-68537F4B017D}" presName="imagSh" presStyleLbl="bgImgPlace1" presStyleIdx="0" presStyleCnt="3" custScaleX="72977" custScaleY="70552" custLinFactNeighborX="-415"/>
      <dgm:spPr>
        <a:blipFill rotWithShape="1">
          <a:blip xmlns:r="http://schemas.openxmlformats.org/officeDocument/2006/relationships" r:embed="rId1"/>
          <a:srcRect/>
          <a:stretch>
            <a:fillRect l="-25000" r="-25000"/>
          </a:stretch>
        </a:blipFill>
      </dgm:spPr>
    </dgm:pt>
    <dgm:pt modelId="{CC0A4507-007B-4FDF-B737-BA386403833D}" type="pres">
      <dgm:prSet presAssocID="{7AE78992-410E-470A-A10D-68537F4B017D}" presName="txNode" presStyleLbl="node1" presStyleIdx="0" presStyleCnt="3" custScaleX="82887" custScaleY="84055" custLinFactNeighborX="4576">
        <dgm:presLayoutVars>
          <dgm:bulletEnabled val="1"/>
        </dgm:presLayoutVars>
      </dgm:prSet>
      <dgm:spPr/>
    </dgm:pt>
    <dgm:pt modelId="{0186D49A-32A3-43C9-8095-2EFC264F83A8}" type="pres">
      <dgm:prSet presAssocID="{C440635F-CCC0-455F-AA04-399EB7083375}" presName="sibTrans" presStyleLbl="sibTrans2D1" presStyleIdx="0" presStyleCnt="2"/>
      <dgm:spPr/>
    </dgm:pt>
    <dgm:pt modelId="{E18FFBE3-4C7C-4E91-8C7C-BF5B2DC3E543}" type="pres">
      <dgm:prSet presAssocID="{C440635F-CCC0-455F-AA04-399EB7083375}" presName="connTx" presStyleLbl="sibTrans2D1" presStyleIdx="0" presStyleCnt="2"/>
      <dgm:spPr/>
    </dgm:pt>
    <dgm:pt modelId="{8FC10103-578F-4AE8-B026-CE76D0E8615B}" type="pres">
      <dgm:prSet presAssocID="{0E930CAC-CCE1-46F1-8CAA-70085F74E01A}" presName="composite" presStyleCnt="0"/>
      <dgm:spPr/>
    </dgm:pt>
    <dgm:pt modelId="{F7EA6081-2B58-434D-9489-822A9325C947}" type="pres">
      <dgm:prSet presAssocID="{0E930CAC-CCE1-46F1-8CAA-70085F74E01A}" presName="imagSh" presStyleLbl="bgImgPlace1" presStyleIdx="1" presStyleCnt="3" custScaleX="72977" custScaleY="70552" custLinFactNeighborX="-1408"/>
      <dgm:spPr>
        <a:blipFill rotWithShape="1">
          <a:blip xmlns:r="http://schemas.openxmlformats.org/officeDocument/2006/relationships" r:embed="rId2"/>
          <a:srcRect/>
          <a:stretch>
            <a:fillRect/>
          </a:stretch>
        </a:blipFill>
        <a:ln>
          <a:solidFill>
            <a:schemeClr val="accent3"/>
          </a:solidFill>
        </a:ln>
      </dgm:spPr>
    </dgm:pt>
    <dgm:pt modelId="{F231E4A3-C868-44EB-A2BA-AF3401F7D380}" type="pres">
      <dgm:prSet presAssocID="{0E930CAC-CCE1-46F1-8CAA-70085F74E01A}" presName="txNode" presStyleLbl="node1" presStyleIdx="1" presStyleCnt="3" custScaleX="82887" custScaleY="84055" custLinFactNeighborX="3520">
        <dgm:presLayoutVars>
          <dgm:bulletEnabled val="1"/>
        </dgm:presLayoutVars>
      </dgm:prSet>
      <dgm:spPr/>
    </dgm:pt>
    <dgm:pt modelId="{6326C23E-7886-49EB-8A45-73617CD21454}" type="pres">
      <dgm:prSet presAssocID="{90F860A2-50F0-4E15-9724-B5749A2EAE67}" presName="sibTrans" presStyleLbl="sibTrans2D1" presStyleIdx="1" presStyleCnt="2"/>
      <dgm:spPr/>
    </dgm:pt>
    <dgm:pt modelId="{D7A3B8B0-D630-4669-8A8C-53A96A84846D}" type="pres">
      <dgm:prSet presAssocID="{90F860A2-50F0-4E15-9724-B5749A2EAE67}" presName="connTx" presStyleLbl="sibTrans2D1" presStyleIdx="1" presStyleCnt="2"/>
      <dgm:spPr/>
    </dgm:pt>
    <dgm:pt modelId="{26B60762-B659-47C6-BBC2-05E7BD912021}" type="pres">
      <dgm:prSet presAssocID="{A2F68E07-1DA2-46A9-A44C-9C64026A6946}" presName="composite" presStyleCnt="0"/>
      <dgm:spPr/>
    </dgm:pt>
    <dgm:pt modelId="{3DD9DE45-E409-426D-9E65-4D477793F60F}" type="pres">
      <dgm:prSet presAssocID="{A2F68E07-1DA2-46A9-A44C-9C64026A6946}" presName="imagSh" presStyleLbl="bgImgPlace1" presStyleIdx="2" presStyleCnt="3" custScaleX="72977" custScaleY="70552" custLinFactNeighborX="-5280"/>
      <dgm:spPr>
        <a:blipFill rotWithShape="1">
          <a:blip xmlns:r="http://schemas.openxmlformats.org/officeDocument/2006/relationships" r:embed="rId3"/>
          <a:srcRect/>
          <a:stretch>
            <a:fillRect l="-12000" r="-12000"/>
          </a:stretch>
        </a:blipFill>
        <a:ln>
          <a:solidFill>
            <a:srgbClr val="00B0F0"/>
          </a:solidFill>
        </a:ln>
      </dgm:spPr>
    </dgm:pt>
    <dgm:pt modelId="{6B450F61-6811-4152-93BA-D80A71AF1635}" type="pres">
      <dgm:prSet presAssocID="{A2F68E07-1DA2-46A9-A44C-9C64026A6946}" presName="txNode" presStyleLbl="node1" presStyleIdx="2" presStyleCnt="3" custScaleX="82887" custScaleY="84055">
        <dgm:presLayoutVars>
          <dgm:bulletEnabled val="1"/>
        </dgm:presLayoutVars>
      </dgm:prSet>
      <dgm:spPr/>
    </dgm:pt>
  </dgm:ptLst>
  <dgm:cxnLst>
    <dgm:cxn modelId="{6C94E306-D2E0-403F-BA98-58BA2BD8D113}" srcId="{A2F68E07-1DA2-46A9-A44C-9C64026A6946}" destId="{75F4C355-E81B-4B2D-B1BC-1D2EFB9FE7D9}" srcOrd="1" destOrd="0" parTransId="{6ADFA6BC-D39D-4BBF-8C82-EBAF7BC39D7F}" sibTransId="{6C413BB9-5448-4AC3-917A-6DA3A4055DD9}"/>
    <dgm:cxn modelId="{B7815815-6CC8-4ECC-AEC5-09468EB0BA32}" srcId="{7AE78992-410E-470A-A10D-68537F4B017D}" destId="{D27DCB93-61A7-45CE-89B9-23EDBF5106FC}" srcOrd="3" destOrd="0" parTransId="{41341133-AD75-4787-B2CF-AD6D70C3EB4E}" sibTransId="{A84CED3E-2D58-4EAC-864B-A3C2F391C455}"/>
    <dgm:cxn modelId="{BCC4321A-4DE1-40A7-9989-42D378591301}" type="presOf" srcId="{90F860A2-50F0-4E15-9724-B5749A2EAE67}" destId="{D7A3B8B0-D630-4669-8A8C-53A96A84846D}" srcOrd="1" destOrd="0" presId="urn:microsoft.com/office/officeart/2005/8/layout/hProcess10"/>
    <dgm:cxn modelId="{E9C6AC1B-0C6C-40A9-A604-A332B0B036EF}" type="presOf" srcId="{75F4C355-E81B-4B2D-B1BC-1D2EFB9FE7D9}" destId="{6B450F61-6811-4152-93BA-D80A71AF1635}" srcOrd="0" destOrd="2" presId="urn:microsoft.com/office/officeart/2005/8/layout/hProcess10"/>
    <dgm:cxn modelId="{5E959021-D26D-4EA2-B307-7AC3D98F2F1C}" type="presOf" srcId="{4D7B94DA-9FEC-46BA-86F2-D73112B26661}" destId="{CC0A4507-007B-4FDF-B737-BA386403833D}" srcOrd="0" destOrd="2" presId="urn:microsoft.com/office/officeart/2005/8/layout/hProcess10"/>
    <dgm:cxn modelId="{D6239E24-DCBB-476A-B59C-AD6E3A5BE421}" srcId="{A2F68E07-1DA2-46A9-A44C-9C64026A6946}" destId="{A9C1A4F7-0560-419C-9313-D5D8477E404C}" srcOrd="0" destOrd="0" parTransId="{7CB4F8FF-3B77-416A-9051-AF832A48890B}" sibTransId="{4393B596-1E15-4544-8EED-65ACC5658A5A}"/>
    <dgm:cxn modelId="{74EC4738-9D4B-452B-9DCC-3DAAC60C3A8D}" srcId="{7AE78992-410E-470A-A10D-68537F4B017D}" destId="{A976E161-E3E9-4093-A471-DDBB836DD700}" srcOrd="2" destOrd="0" parTransId="{F5A362F7-6110-4172-BAD4-101A059C509F}" sibTransId="{DE0F0B8C-75FC-402E-B6F3-BBEB48E1AE0C}"/>
    <dgm:cxn modelId="{3153AE3B-85B3-4485-9123-826224956BD0}" type="presOf" srcId="{8E636FE5-9D88-4EC1-8EC7-9F39F26EBD52}" destId="{6B450F61-6811-4152-93BA-D80A71AF1635}" srcOrd="0" destOrd="3" presId="urn:microsoft.com/office/officeart/2005/8/layout/hProcess10"/>
    <dgm:cxn modelId="{3FCC9F3C-88D3-407E-9A30-431AB3A508D5}" srcId="{A2F68E07-1DA2-46A9-A44C-9C64026A6946}" destId="{8E636FE5-9D88-4EC1-8EC7-9F39F26EBD52}" srcOrd="2" destOrd="0" parTransId="{6E0D2112-B7D0-4940-A5B9-51F311388FB4}" sibTransId="{3D336E3F-3814-4EEF-8C07-FE452C56566C}"/>
    <dgm:cxn modelId="{CA51B43D-F103-45F1-B873-A4A9ED1E6A49}" type="presOf" srcId="{31557CAA-CB9F-4A0A-A246-0832A8389042}" destId="{F231E4A3-C868-44EB-A2BA-AF3401F7D380}" srcOrd="0" destOrd="1" presId="urn:microsoft.com/office/officeart/2005/8/layout/hProcess10"/>
    <dgm:cxn modelId="{1C7CAE3F-E072-4096-B3B6-BB60BA9A0106}" type="presOf" srcId="{309C36C1-953E-40D8-A05A-99CADE6980BB}" destId="{F231E4A3-C868-44EB-A2BA-AF3401F7D380}" srcOrd="0" destOrd="3" presId="urn:microsoft.com/office/officeart/2005/8/layout/hProcess10"/>
    <dgm:cxn modelId="{7937B35E-A469-4FC8-8B1E-F89B0AF16352}" srcId="{0E930CAC-CCE1-46F1-8CAA-70085F74E01A}" destId="{B20DF32D-651A-4240-AE81-1025FFFFE575}" srcOrd="1" destOrd="0" parTransId="{07DFD45B-34BC-40B3-B5E0-2A90975AB5C9}" sibTransId="{D78874B2-BACE-4FCE-B11A-E31C0F17E941}"/>
    <dgm:cxn modelId="{15C4CC5F-9542-46A1-8012-FB44B5A93E1F}" srcId="{3515872C-AAEC-412F-9B22-BC473D3C6D02}" destId="{7AE78992-410E-470A-A10D-68537F4B017D}" srcOrd="0" destOrd="0" parTransId="{6E1F81B4-BD34-4B21-B589-C7E70231DA35}" sibTransId="{C440635F-CCC0-455F-AA04-399EB7083375}"/>
    <dgm:cxn modelId="{B18CF463-14FF-4797-B11F-0DB62079A62E}" type="presOf" srcId="{D27DCB93-61A7-45CE-89B9-23EDBF5106FC}" destId="{CC0A4507-007B-4FDF-B737-BA386403833D}" srcOrd="0" destOrd="4" presId="urn:microsoft.com/office/officeart/2005/8/layout/hProcess10"/>
    <dgm:cxn modelId="{3363BD4C-4889-428F-A98E-769A377B4D19}" srcId="{3515872C-AAEC-412F-9B22-BC473D3C6D02}" destId="{A2F68E07-1DA2-46A9-A44C-9C64026A6946}" srcOrd="2" destOrd="0" parTransId="{D3F8F013-F57E-4871-BB3D-DDEAFEB5215F}" sibTransId="{D01BF51A-05DA-4C33-9F2D-8AC85AD474F8}"/>
    <dgm:cxn modelId="{5D9FBE71-FFBE-44C8-85F3-5F00F005B4A3}" type="presOf" srcId="{4C09D59B-BE13-4E2B-9D1E-B27A244646C4}" destId="{6B450F61-6811-4152-93BA-D80A71AF1635}" srcOrd="0" destOrd="4" presId="urn:microsoft.com/office/officeart/2005/8/layout/hProcess10"/>
    <dgm:cxn modelId="{7F06AC73-1F51-4AA8-9710-F83B62785077}" type="presOf" srcId="{1D750E80-9C88-4149-9512-2DB77E02547D}" destId="{6B450F61-6811-4152-93BA-D80A71AF1635}" srcOrd="0" destOrd="5" presId="urn:microsoft.com/office/officeart/2005/8/layout/hProcess10"/>
    <dgm:cxn modelId="{D937B975-C1C7-427A-A176-5F4F560C0E3A}" srcId="{7AE78992-410E-470A-A10D-68537F4B017D}" destId="{C2D87E1D-8ACD-4C76-9760-81C29C684DEF}" srcOrd="0" destOrd="0" parTransId="{A66235C3-E9DD-46BB-92A9-E3D4461976A6}" sibTransId="{73D5D4CD-F982-4833-BD03-F8DA37CA1051}"/>
    <dgm:cxn modelId="{DBAC4456-111B-42D7-8DE4-EC71354535D4}" type="presOf" srcId="{C440635F-CCC0-455F-AA04-399EB7083375}" destId="{E18FFBE3-4C7C-4E91-8C7C-BF5B2DC3E543}" srcOrd="1" destOrd="0" presId="urn:microsoft.com/office/officeart/2005/8/layout/hProcess10"/>
    <dgm:cxn modelId="{48155E7C-4E2D-4616-9EBD-522B186BA688}" type="presOf" srcId="{A2F68E07-1DA2-46A9-A44C-9C64026A6946}" destId="{6B450F61-6811-4152-93BA-D80A71AF1635}" srcOrd="0" destOrd="0" presId="urn:microsoft.com/office/officeart/2005/8/layout/hProcess10"/>
    <dgm:cxn modelId="{17E62E7D-9770-4AF9-92C3-56D5EEA29AB7}" type="presOf" srcId="{C440635F-CCC0-455F-AA04-399EB7083375}" destId="{0186D49A-32A3-43C9-8095-2EFC264F83A8}" srcOrd="0" destOrd="0" presId="urn:microsoft.com/office/officeart/2005/8/layout/hProcess10"/>
    <dgm:cxn modelId="{6AEDF181-9BF0-4BF1-9F1A-7B60F949E622}" type="presOf" srcId="{7AE78992-410E-470A-A10D-68537F4B017D}" destId="{CC0A4507-007B-4FDF-B737-BA386403833D}" srcOrd="0" destOrd="0" presId="urn:microsoft.com/office/officeart/2005/8/layout/hProcess10"/>
    <dgm:cxn modelId="{A4737286-6053-4801-9D2E-8D72C8A388BB}" type="presOf" srcId="{B20DF32D-651A-4240-AE81-1025FFFFE575}" destId="{F231E4A3-C868-44EB-A2BA-AF3401F7D380}" srcOrd="0" destOrd="2" presId="urn:microsoft.com/office/officeart/2005/8/layout/hProcess10"/>
    <dgm:cxn modelId="{3B026B8D-F2CC-41F9-B38D-3EE4F9EDE62F}" srcId="{A2F68E07-1DA2-46A9-A44C-9C64026A6946}" destId="{4C09D59B-BE13-4E2B-9D1E-B27A244646C4}" srcOrd="3" destOrd="0" parTransId="{205A650E-E9B0-4F39-B1EF-1407549A0FEE}" sibTransId="{40C7B55E-3929-421A-B9B7-8D47BFC18EC6}"/>
    <dgm:cxn modelId="{777F6097-A5EF-47A3-857F-E666C2B21815}" type="presOf" srcId="{C2D87E1D-8ACD-4C76-9760-81C29C684DEF}" destId="{CC0A4507-007B-4FDF-B737-BA386403833D}" srcOrd="0" destOrd="1" presId="urn:microsoft.com/office/officeart/2005/8/layout/hProcess10"/>
    <dgm:cxn modelId="{54EAEB99-199D-4B28-BF6B-BF6892A48340}" type="presOf" srcId="{0E930CAC-CCE1-46F1-8CAA-70085F74E01A}" destId="{F231E4A3-C868-44EB-A2BA-AF3401F7D380}" srcOrd="0" destOrd="0" presId="urn:microsoft.com/office/officeart/2005/8/layout/hProcess10"/>
    <dgm:cxn modelId="{D56F17B2-B739-4A15-8233-4FBEAC46304E}" type="presOf" srcId="{90F860A2-50F0-4E15-9724-B5749A2EAE67}" destId="{6326C23E-7886-49EB-8A45-73617CD21454}" srcOrd="0" destOrd="0" presId="urn:microsoft.com/office/officeart/2005/8/layout/hProcess10"/>
    <dgm:cxn modelId="{2969F0BC-264C-46F2-91C4-5F0DBD86F593}" type="presOf" srcId="{A976E161-E3E9-4093-A471-DDBB836DD700}" destId="{CC0A4507-007B-4FDF-B737-BA386403833D}" srcOrd="0" destOrd="3" presId="urn:microsoft.com/office/officeart/2005/8/layout/hProcess10"/>
    <dgm:cxn modelId="{C18CC0D1-2E85-40FC-8C8B-EFAE64F4C7DC}" srcId="{7AE78992-410E-470A-A10D-68537F4B017D}" destId="{4D7B94DA-9FEC-46BA-86F2-D73112B26661}" srcOrd="1" destOrd="0" parTransId="{68FD2B2B-2850-47FF-AEFB-BD0891A34C7C}" sibTransId="{7164D35C-DFA0-4F1C-B795-716B39FC4CCF}"/>
    <dgm:cxn modelId="{3C9AF4D9-68E4-4DE6-8700-9B3D68E4185D}" type="presOf" srcId="{3515872C-AAEC-412F-9B22-BC473D3C6D02}" destId="{224BB864-8C4A-4ECB-A874-A0A7F21A06A0}" srcOrd="0" destOrd="0" presId="urn:microsoft.com/office/officeart/2005/8/layout/hProcess10"/>
    <dgm:cxn modelId="{307849DA-E200-4BDE-B36C-70E34534AAFE}" srcId="{3515872C-AAEC-412F-9B22-BC473D3C6D02}" destId="{0E930CAC-CCE1-46F1-8CAA-70085F74E01A}" srcOrd="1" destOrd="0" parTransId="{CEABE6D3-A75D-45C5-85C6-6347C11A32CE}" sibTransId="{90F860A2-50F0-4E15-9724-B5749A2EAE67}"/>
    <dgm:cxn modelId="{C90258EC-B870-4E28-B32E-A516F17EE45F}" srcId="{A2F68E07-1DA2-46A9-A44C-9C64026A6946}" destId="{1D750E80-9C88-4149-9512-2DB77E02547D}" srcOrd="4" destOrd="0" parTransId="{85643F12-BE57-4F61-97A9-01C2A5FBBBE9}" sibTransId="{353FD4EA-9670-4F7B-864B-9E28DDCAD9FA}"/>
    <dgm:cxn modelId="{E35E5AF5-9BBE-45F7-8D48-EBE4075DF44F}" srcId="{0E930CAC-CCE1-46F1-8CAA-70085F74E01A}" destId="{31557CAA-CB9F-4A0A-A246-0832A8389042}" srcOrd="0" destOrd="0" parTransId="{6C7A1982-F835-4D54-80BA-1E03C5AFD4D3}" sibTransId="{55C90EAB-FAD1-4F6C-A7F8-4D77FCB2FD6E}"/>
    <dgm:cxn modelId="{973287FD-D615-41FD-9BDE-40CC9EFD5456}" type="presOf" srcId="{A9C1A4F7-0560-419C-9313-D5D8477E404C}" destId="{6B450F61-6811-4152-93BA-D80A71AF1635}" srcOrd="0" destOrd="1" presId="urn:microsoft.com/office/officeart/2005/8/layout/hProcess10"/>
    <dgm:cxn modelId="{FA068AFF-DC5F-4D0A-8B5B-C1A07C48A516}" srcId="{0E930CAC-CCE1-46F1-8CAA-70085F74E01A}" destId="{309C36C1-953E-40D8-A05A-99CADE6980BB}" srcOrd="2" destOrd="0" parTransId="{D38A46B4-D9CB-4602-A55E-52758ADE53E8}" sibTransId="{842DAD3B-1546-45D9-B748-335A5AEF6EB8}"/>
    <dgm:cxn modelId="{A8D3601F-F9B7-4E03-90F2-6CA5F22B67EC}" type="presParOf" srcId="{224BB864-8C4A-4ECB-A874-A0A7F21A06A0}" destId="{24690571-A462-4901-A9CB-ADEA560E5E02}" srcOrd="0" destOrd="0" presId="urn:microsoft.com/office/officeart/2005/8/layout/hProcess10"/>
    <dgm:cxn modelId="{BD989EB0-17BA-4E3B-903D-6677D201412C}" type="presParOf" srcId="{24690571-A462-4901-A9CB-ADEA560E5E02}" destId="{7860786C-6B21-4525-A7FA-2E0C74C6CCA9}" srcOrd="0" destOrd="0" presId="urn:microsoft.com/office/officeart/2005/8/layout/hProcess10"/>
    <dgm:cxn modelId="{7BD99637-0EF2-410A-B112-E3F122E030D6}" type="presParOf" srcId="{24690571-A462-4901-A9CB-ADEA560E5E02}" destId="{CC0A4507-007B-4FDF-B737-BA386403833D}" srcOrd="1" destOrd="0" presId="urn:microsoft.com/office/officeart/2005/8/layout/hProcess10"/>
    <dgm:cxn modelId="{A1311DF6-3CE5-420D-9F36-DD2A6778E5A4}" type="presParOf" srcId="{224BB864-8C4A-4ECB-A874-A0A7F21A06A0}" destId="{0186D49A-32A3-43C9-8095-2EFC264F83A8}" srcOrd="1" destOrd="0" presId="urn:microsoft.com/office/officeart/2005/8/layout/hProcess10"/>
    <dgm:cxn modelId="{BCAEA720-76AD-47C9-AC9E-BDD5C8BC5EDE}" type="presParOf" srcId="{0186D49A-32A3-43C9-8095-2EFC264F83A8}" destId="{E18FFBE3-4C7C-4E91-8C7C-BF5B2DC3E543}" srcOrd="0" destOrd="0" presId="urn:microsoft.com/office/officeart/2005/8/layout/hProcess10"/>
    <dgm:cxn modelId="{4DAE4248-4D88-4E17-A15C-90F97B644EB0}" type="presParOf" srcId="{224BB864-8C4A-4ECB-A874-A0A7F21A06A0}" destId="{8FC10103-578F-4AE8-B026-CE76D0E8615B}" srcOrd="2" destOrd="0" presId="urn:microsoft.com/office/officeart/2005/8/layout/hProcess10"/>
    <dgm:cxn modelId="{651861B4-8ECE-41A1-B6CA-8C5A58F1FB42}" type="presParOf" srcId="{8FC10103-578F-4AE8-B026-CE76D0E8615B}" destId="{F7EA6081-2B58-434D-9489-822A9325C947}" srcOrd="0" destOrd="0" presId="urn:microsoft.com/office/officeart/2005/8/layout/hProcess10"/>
    <dgm:cxn modelId="{258339B8-B80A-465A-8597-05837E263FA6}" type="presParOf" srcId="{8FC10103-578F-4AE8-B026-CE76D0E8615B}" destId="{F231E4A3-C868-44EB-A2BA-AF3401F7D380}" srcOrd="1" destOrd="0" presId="urn:microsoft.com/office/officeart/2005/8/layout/hProcess10"/>
    <dgm:cxn modelId="{E84CEC01-4E42-44D6-B06D-FB10EF24BF49}" type="presParOf" srcId="{224BB864-8C4A-4ECB-A874-A0A7F21A06A0}" destId="{6326C23E-7886-49EB-8A45-73617CD21454}" srcOrd="3" destOrd="0" presId="urn:microsoft.com/office/officeart/2005/8/layout/hProcess10"/>
    <dgm:cxn modelId="{D40001A2-9868-47D1-9507-DB47404A6AF5}" type="presParOf" srcId="{6326C23E-7886-49EB-8A45-73617CD21454}" destId="{D7A3B8B0-D630-4669-8A8C-53A96A84846D}" srcOrd="0" destOrd="0" presId="urn:microsoft.com/office/officeart/2005/8/layout/hProcess10"/>
    <dgm:cxn modelId="{7D240422-3784-4D53-AAF0-E8CE178C6089}" type="presParOf" srcId="{224BB864-8C4A-4ECB-A874-A0A7F21A06A0}" destId="{26B60762-B659-47C6-BBC2-05E7BD912021}" srcOrd="4" destOrd="0" presId="urn:microsoft.com/office/officeart/2005/8/layout/hProcess10"/>
    <dgm:cxn modelId="{D8EDB754-ED0F-48F7-A158-282D3149B61C}" type="presParOf" srcId="{26B60762-B659-47C6-BBC2-05E7BD912021}" destId="{3DD9DE45-E409-426D-9E65-4D477793F60F}" srcOrd="0" destOrd="0" presId="urn:microsoft.com/office/officeart/2005/8/layout/hProcess10"/>
    <dgm:cxn modelId="{E5D6B009-4487-4141-ACE4-182C534591E0}" type="presParOf" srcId="{26B60762-B659-47C6-BBC2-05E7BD912021}" destId="{6B450F61-6811-4152-93BA-D80A71AF1635}" srcOrd="1" destOrd="0" presId="urn:microsoft.com/office/officeart/2005/8/layout/hProcess10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60786C-6B21-4525-A7FA-2E0C74C6CCA9}">
      <dsp:nvSpPr>
        <dsp:cNvPr id="0" name=""/>
        <dsp:cNvSpPr/>
      </dsp:nvSpPr>
      <dsp:spPr>
        <a:xfrm>
          <a:off x="0" y="696236"/>
          <a:ext cx="2205021" cy="2131749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rcRect/>
          <a:stretch>
            <a:fillRect l="-25000" r="-2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0A4507-007B-4FDF-B737-BA386403833D}">
      <dsp:nvSpPr>
        <dsp:cNvPr id="0" name=""/>
        <dsp:cNvSpPr/>
      </dsp:nvSpPr>
      <dsp:spPr>
        <a:xfrm>
          <a:off x="482340" y="2305155"/>
          <a:ext cx="2504455" cy="2539747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 1. Selection 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Confirm plans to pay a subsidy per student/family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Select Authentication and Content Filtering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Provide list of addresse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School Portal (Phase 1) targeting release first week of August</a:t>
          </a:r>
        </a:p>
      </dsp:txBody>
      <dsp:txXfrm>
        <a:off x="555693" y="2378508"/>
        <a:ext cx="2357749" cy="2393041"/>
      </dsp:txXfrm>
    </dsp:sp>
    <dsp:sp modelId="{0186D49A-32A3-43C9-8095-2EFC264F83A8}">
      <dsp:nvSpPr>
        <dsp:cNvPr id="0" name=""/>
        <dsp:cNvSpPr/>
      </dsp:nvSpPr>
      <dsp:spPr>
        <a:xfrm>
          <a:off x="2825216" y="1399095"/>
          <a:ext cx="620194" cy="726031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>
        <a:off x="2825216" y="1544301"/>
        <a:ext cx="434136" cy="435619"/>
      </dsp:txXfrm>
    </dsp:sp>
    <dsp:sp modelId="{F7EA6081-2B58-434D-9489-822A9325C947}">
      <dsp:nvSpPr>
        <dsp:cNvPr id="0" name=""/>
        <dsp:cNvSpPr/>
      </dsp:nvSpPr>
      <dsp:spPr>
        <a:xfrm>
          <a:off x="3977006" y="696236"/>
          <a:ext cx="2205021" cy="2131749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rcRect/>
          <a:stretch>
            <a:fillRect/>
          </a:stretch>
        </a:blipFill>
        <a:ln w="12700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231E4A3-C868-44EB-A2BA-AF3401F7D380}">
      <dsp:nvSpPr>
        <dsp:cNvPr id="0" name=""/>
        <dsp:cNvSpPr/>
      </dsp:nvSpPr>
      <dsp:spPr>
        <a:xfrm>
          <a:off x="4468067" y="2305155"/>
          <a:ext cx="2504455" cy="2539747"/>
        </a:xfrm>
        <a:prstGeom prst="roundRect">
          <a:avLst>
            <a:gd name="adj" fmla="val 10000"/>
          </a:avLst>
        </a:prstGeom>
        <a:solidFill>
          <a:schemeClr val="accent2">
            <a:hueOff val="-423365"/>
            <a:satOff val="16880"/>
            <a:lumOff val="1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 2. Data Prep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Check Serviceability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Equipment model, speed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Prepare address disposition</a:t>
          </a:r>
        </a:p>
      </dsp:txBody>
      <dsp:txXfrm>
        <a:off x="4541420" y="2378508"/>
        <a:ext cx="2357749" cy="2393041"/>
      </dsp:txXfrm>
    </dsp:sp>
    <dsp:sp modelId="{6326C23E-7886-49EB-8A45-73617CD21454}">
      <dsp:nvSpPr>
        <dsp:cNvPr id="0" name=""/>
        <dsp:cNvSpPr/>
      </dsp:nvSpPr>
      <dsp:spPr>
        <a:xfrm>
          <a:off x="6775495" y="1399095"/>
          <a:ext cx="593466" cy="726031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-846729"/>
            <a:satOff val="33760"/>
            <a:lumOff val="3725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>
        <a:off x="6775495" y="1544301"/>
        <a:ext cx="415426" cy="435619"/>
      </dsp:txXfrm>
    </dsp:sp>
    <dsp:sp modelId="{3DD9DE45-E409-426D-9E65-4D477793F60F}">
      <dsp:nvSpPr>
        <dsp:cNvPr id="0" name=""/>
        <dsp:cNvSpPr/>
      </dsp:nvSpPr>
      <dsp:spPr>
        <a:xfrm>
          <a:off x="7877647" y="696236"/>
          <a:ext cx="2205021" cy="2131749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rcRect/>
          <a:stretch>
            <a:fillRect l="-12000" r="-12000"/>
          </a:stretch>
        </a:blipFill>
        <a:ln w="12700" cap="flat" cmpd="sng" algn="ctr">
          <a:solidFill>
            <a:srgbClr val="00B0F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B450F61-6811-4152-93BA-D80A71AF1635}">
      <dsp:nvSpPr>
        <dsp:cNvPr id="0" name=""/>
        <dsp:cNvSpPr/>
      </dsp:nvSpPr>
      <dsp:spPr>
        <a:xfrm>
          <a:off x="8379344" y="2305155"/>
          <a:ext cx="2504455" cy="2539747"/>
        </a:xfrm>
        <a:prstGeom prst="roundRect">
          <a:avLst>
            <a:gd name="adj" fmla="val 10000"/>
          </a:avLst>
        </a:prstGeom>
        <a:solidFill>
          <a:schemeClr val="accent2">
            <a:hueOff val="-846729"/>
            <a:satOff val="33760"/>
            <a:lumOff val="372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 3. Parent Portal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Share with families Parent Portal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Families agree to subsidy and sign-up for service (if applicable)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Self-Install kit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Avoid Downgrade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Parent Portal targeting release first week of August</a:t>
          </a:r>
        </a:p>
      </dsp:txBody>
      <dsp:txXfrm>
        <a:off x="8452697" y="2378508"/>
        <a:ext cx="2357749" cy="239304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0">
  <dgm:title val=""/>
  <dgm:desc val=""/>
  <dgm:catLst>
    <dgm:cat type="process" pri="3000"/>
    <dgm:cat type="picture" pri="30000"/>
    <dgm:cat type="pictureconvert" pri="3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op="equ" fact="0.3333"/>
      <dgm:constr type="primFontSz" for="des" forName="txNode" op="equ" val="65"/>
      <dgm:constr type="primFontSz" for="des" forName="connTx" op="equ" val="55"/>
      <dgm:constr type="primFontSz" for="des" forName="connTx" refType="primFontSz" refFor="des" refForName="txNode" op="lte" fact="0.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imagSh"/>
              <dgm:constr type="w" for="ch" forName="imagSh" refType="w" fact="0.86"/>
              <dgm:constr type="t" for="ch" forName="imagSh"/>
              <dgm:constr type="h" for="ch" forName="imagSh" refType="w" refFor="ch" refForName="imagSh"/>
              <dgm:constr type="l" for="ch" forName="txNode" refType="w" fact="0.14"/>
              <dgm:constr type="w" for="ch" forName="txNode" refType="w" refFor="ch" refForName="imagSh"/>
              <dgm:constr type="t" for="ch" forName="txNode" refType="h" refFor="ch" refForName="imagSh" fact="0.6"/>
              <dgm:constr type="h" for="ch" forName="txNode" refType="h" refFor="ch" refForName="imagSh"/>
            </dgm:constrLst>
          </dgm:if>
          <dgm:else name="Name7">
            <dgm:constrLst>
              <dgm:constr type="l" for="ch" forName="imagSh" refType="w" fact="0.14"/>
              <dgm:constr type="w" for="ch" forName="imagSh" refType="w" fact="0.86"/>
              <dgm:constr type="t" for="ch" forName="imagSh"/>
              <dgm:constr type="h" for="ch" forName="imagSh" refType="w" refFor="ch" refForName="imagSh"/>
              <dgm:constr type="l" for="ch" forName="txNode"/>
              <dgm:constr type="w" for="ch" forName="txNode" refType="w" refFor="ch" refForName="imagSh"/>
              <dgm:constr type="t" for="ch" forName="txNode" refType="h" refFor="ch" refForName="imagSh" fact="0.6"/>
              <dgm:constr type="h" for="ch" forName="txNode" refType="h" refFor="ch" refForName="imagSh"/>
            </dgm:constrLst>
          </dgm:else>
        </dgm:choose>
        <dgm:ruleLst/>
        <dgm:layoutNode name="imagSh" styleLbl="b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x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imagSh"/>
            <dgm:param type="dstNode" val="imagSh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35"/>
            <dgm:constr type="endPad" refType="connDist" fact="0.3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72A4568-490B-4773-9325-6DC0D573623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21C877-104C-41FE-B0CC-8E34495890B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33A4081-A38B-4F77-8ADC-D0C91E8E4423}" type="datetimeFigureOut">
              <a:rPr lang="en-US" smtClean="0"/>
              <a:t>2/22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61166-372A-4474-A2EF-C771746BF9C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3515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D7FD4F0E-FBD7-0044-978C-3C81CA637440}" type="datetimeFigureOut">
              <a:rPr lang="en-US" smtClean="0"/>
              <a:t>2/2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9AA5F6D-AE36-2045-8FBC-CC75880C59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5126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6579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0371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Viewed as another tool in our quiver</a:t>
            </a:r>
          </a:p>
          <a:p>
            <a:pPr marL="171450" indent="-171450">
              <a:buFontTx/>
              <a:buChar char="-"/>
            </a:pPr>
            <a:r>
              <a:rPr lang="en-US" dirty="0"/>
              <a:t>Managed </a:t>
            </a:r>
            <a:r>
              <a:rPr lang="en-US" dirty="0" err="1"/>
              <a:t>WiFi</a:t>
            </a:r>
            <a:r>
              <a:rPr lang="en-US" dirty="0"/>
              <a:t>, DAS, LPWAN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dirty="0"/>
              <a:t>To help the customers enable the solutions that they need to operate their businesses most effectively &amp; efficient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852837-0E19-441F-8F1F-D033E1AF5EC2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612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852837-0E19-441F-8F1F-D033E1AF5EC2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8002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32902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3336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32521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5744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0358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3304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AA5F6D-AE36-2045-8FBC-CC75880C593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29087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AA5F6D-AE36-2045-8FBC-CC75880C593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24010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AA5F6D-AE36-2045-8FBC-CC75880C593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54467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AA5F6D-AE36-2045-8FBC-CC75880C593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16252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67219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9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0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for Printing)">
    <p:bg bwMode="ltGray">
      <p:bgPr>
        <a:gradFill>
          <a:gsLst>
            <a:gs pos="71000">
              <a:srgbClr val="0074C0"/>
            </a:gs>
            <a:gs pos="23000">
              <a:srgbClr val="00B3F4"/>
            </a:gs>
            <a:gs pos="99000">
              <a:srgbClr val="002F87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96304A0-471E-4551-808D-4C3581D86B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6915" y="458443"/>
            <a:ext cx="1325880" cy="759092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sp>
        <p:nvSpPr>
          <p:cNvPr id="11" name="Footer Placeholder 17">
            <a:extLst>
              <a:ext uri="{FF2B5EF4-FFF2-40B4-BE49-F238E27FC236}">
                <a16:creationId xmlns:a16="http://schemas.microsoft.com/office/drawing/2014/main" id="{BC3C951E-2639-4D67-B1DB-DDDB2E54FFF5}"/>
              </a:ext>
            </a:extLst>
          </p:cNvPr>
          <p:cNvSpPr txBox="1">
            <a:spLocks/>
          </p:cNvSpPr>
          <p:nvPr userDrawn="1"/>
        </p:nvSpPr>
        <p:spPr bwMode="ltGray">
          <a:xfrm>
            <a:off x="642127" y="6668109"/>
            <a:ext cx="1471154" cy="2068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914377" rtl="0" eaLnBrk="1" latinLnBrk="0" hangingPunct="1">
              <a:defRPr sz="800" kern="12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23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_No Logo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43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5232D39-0A1A-4BA0-979D-C31433B2E69B}"/>
              </a:ext>
            </a:extLst>
          </p:cNvPr>
          <p:cNvSpPr/>
          <p:nvPr userDrawn="1"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841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wo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 Placeholder 14">
            <a:extLst>
              <a:ext uri="{FF2B5EF4-FFF2-40B4-BE49-F238E27FC236}">
                <a16:creationId xmlns:a16="http://schemas.microsoft.com/office/drawing/2014/main" id="{2DA0B400-1FD0-4E71-99C4-0FFC675A0A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6256" y="1321711"/>
            <a:ext cx="5481968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5A309F3-1319-4540-8AC3-1F65844DD0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3775" y="1321711"/>
            <a:ext cx="5481967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B0EDF6-74F5-4BCC-AA48-B7297D5D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43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7C6B98E-52A4-483B-85D6-F8DEA2BA3D4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5ABF01-CE28-4417-AF93-B7D4CC12176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hre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786A00B-562E-4B93-A5C7-C03E57B42204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93776" y="1321663"/>
            <a:ext cx="3574472" cy="485510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43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A447CF73-E46C-4B33-A05C-4D288BBF8D99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08765" y="1321663"/>
            <a:ext cx="3574472" cy="485510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DEB7C37D-CD51-4F99-9137-BBCDD6E13993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123752" y="1321663"/>
            <a:ext cx="3574472" cy="485510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2AD98C1-BF22-48DF-8823-D7CC334B409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76889A-EA43-46C6-A129-529F9155BF3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Weighte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363D2A7-F825-484F-B3DB-FB2FC0520A7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93777" y="1757394"/>
            <a:ext cx="3229524" cy="441022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7" y="642889"/>
            <a:ext cx="3208154" cy="897970"/>
          </a:xfrm>
        </p:spPr>
        <p:txBody>
          <a:bodyPr>
            <a:noAutofit/>
          </a:bodyPr>
          <a:lstStyle>
            <a:lvl1pPr>
              <a:defRPr sz="4300"/>
            </a:lvl1pPr>
          </a:lstStyle>
          <a:p>
            <a:r>
              <a:rPr lang="en-US"/>
              <a:t>Placeholder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EFA500-6C5D-4551-968A-183AAA0CDC6F}"/>
              </a:ext>
            </a:extLst>
          </p:cNvPr>
          <p:cNvCxnSpPr>
            <a:cxnSpLocks/>
          </p:cNvCxnSpPr>
          <p:nvPr userDrawn="1"/>
        </p:nvCxnSpPr>
        <p:spPr>
          <a:xfrm>
            <a:off x="4308764" y="669163"/>
            <a:ext cx="0" cy="515556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05E3F98-F8EB-4010-96E1-2DC856BD43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29200" y="1322388"/>
            <a:ext cx="6669088" cy="45021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0A31880-916E-40CD-B168-97856146C21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DC87525-BA93-4FFC-949B-8C3FECE81674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5433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8D749E-10F3-468F-A695-20684D44BA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ltGray">
          <a:xfrm>
            <a:off x="1" y="0"/>
            <a:ext cx="10037025" cy="6858000"/>
          </a:xfrm>
          <a:custGeom>
            <a:avLst/>
            <a:gdLst>
              <a:gd name="connsiteX0" fmla="*/ 0 w 10037025"/>
              <a:gd name="connsiteY0" fmla="*/ 0 h 6858000"/>
              <a:gd name="connsiteX1" fmla="*/ 2237 w 10037025"/>
              <a:gd name="connsiteY1" fmla="*/ 0 h 6858000"/>
              <a:gd name="connsiteX2" fmla="*/ 17892 w 10037025"/>
              <a:gd name="connsiteY2" fmla="*/ 0 h 6858000"/>
              <a:gd name="connsiteX3" fmla="*/ 60384 w 10037025"/>
              <a:gd name="connsiteY3" fmla="*/ 0 h 6858000"/>
              <a:gd name="connsiteX4" fmla="*/ 95887 w 10037025"/>
              <a:gd name="connsiteY4" fmla="*/ 0 h 6858000"/>
              <a:gd name="connsiteX5" fmla="*/ 143131 w 10037025"/>
              <a:gd name="connsiteY5" fmla="*/ 0 h 6858000"/>
              <a:gd name="connsiteX6" fmla="*/ 203794 w 10037025"/>
              <a:gd name="connsiteY6" fmla="*/ 0 h 6858000"/>
              <a:gd name="connsiteX7" fmla="*/ 279553 w 10037025"/>
              <a:gd name="connsiteY7" fmla="*/ 0 h 6858000"/>
              <a:gd name="connsiteX8" fmla="*/ 372085 w 10037025"/>
              <a:gd name="connsiteY8" fmla="*/ 0 h 6858000"/>
              <a:gd name="connsiteX9" fmla="*/ 483068 w 10037025"/>
              <a:gd name="connsiteY9" fmla="*/ 0 h 6858000"/>
              <a:gd name="connsiteX10" fmla="*/ 614178 w 10037025"/>
              <a:gd name="connsiteY10" fmla="*/ 0 h 6858000"/>
              <a:gd name="connsiteX11" fmla="*/ 767094 w 10037025"/>
              <a:gd name="connsiteY11" fmla="*/ 0 h 6858000"/>
              <a:gd name="connsiteX12" fmla="*/ 943492 w 10037025"/>
              <a:gd name="connsiteY12" fmla="*/ 0 h 6858000"/>
              <a:gd name="connsiteX13" fmla="*/ 1145050 w 10037025"/>
              <a:gd name="connsiteY13" fmla="*/ 0 h 6858000"/>
              <a:gd name="connsiteX14" fmla="*/ 1373445 w 10037025"/>
              <a:gd name="connsiteY14" fmla="*/ 0 h 6858000"/>
              <a:gd name="connsiteX15" fmla="*/ 1630354 w 10037025"/>
              <a:gd name="connsiteY15" fmla="*/ 0 h 6858000"/>
              <a:gd name="connsiteX16" fmla="*/ 1917455 w 10037025"/>
              <a:gd name="connsiteY16" fmla="*/ 0 h 6858000"/>
              <a:gd name="connsiteX17" fmla="*/ 2236425 w 10037025"/>
              <a:gd name="connsiteY17" fmla="*/ 0 h 6858000"/>
              <a:gd name="connsiteX18" fmla="*/ 2588941 w 10037025"/>
              <a:gd name="connsiteY18" fmla="*/ 0 h 6858000"/>
              <a:gd name="connsiteX19" fmla="*/ 2976682 w 10037025"/>
              <a:gd name="connsiteY19" fmla="*/ 0 h 6858000"/>
              <a:gd name="connsiteX20" fmla="*/ 3401323 w 10037025"/>
              <a:gd name="connsiteY20" fmla="*/ 0 h 6858000"/>
              <a:gd name="connsiteX21" fmla="*/ 3864542 w 10037025"/>
              <a:gd name="connsiteY21" fmla="*/ 0 h 6858000"/>
              <a:gd name="connsiteX22" fmla="*/ 4368018 w 10037025"/>
              <a:gd name="connsiteY22" fmla="*/ 0 h 6858000"/>
              <a:gd name="connsiteX23" fmla="*/ 4913426 w 10037025"/>
              <a:gd name="connsiteY23" fmla="*/ 0 h 6858000"/>
              <a:gd name="connsiteX24" fmla="*/ 5502444 w 10037025"/>
              <a:gd name="connsiteY24" fmla="*/ 0 h 6858000"/>
              <a:gd name="connsiteX25" fmla="*/ 6136750 w 10037025"/>
              <a:gd name="connsiteY25" fmla="*/ 0 h 6858000"/>
              <a:gd name="connsiteX26" fmla="*/ 6818021 w 10037025"/>
              <a:gd name="connsiteY26" fmla="*/ 0 h 6858000"/>
              <a:gd name="connsiteX27" fmla="*/ 7547934 w 10037025"/>
              <a:gd name="connsiteY27" fmla="*/ 0 h 6858000"/>
              <a:gd name="connsiteX28" fmla="*/ 8328167 w 10037025"/>
              <a:gd name="connsiteY28" fmla="*/ 0 h 6858000"/>
              <a:gd name="connsiteX29" fmla="*/ 8737677 w 10037025"/>
              <a:gd name="connsiteY29" fmla="*/ 0 h 6858000"/>
              <a:gd name="connsiteX30" fmla="*/ 9160396 w 10037025"/>
              <a:gd name="connsiteY30" fmla="*/ 0 h 6858000"/>
              <a:gd name="connsiteX31" fmla="*/ 10037025 w 10037025"/>
              <a:gd name="connsiteY31" fmla="*/ 3429000 h 6858000"/>
              <a:gd name="connsiteX32" fmla="*/ 9160396 w 10037025"/>
              <a:gd name="connsiteY32" fmla="*/ 6858000 h 6858000"/>
              <a:gd name="connsiteX33" fmla="*/ 9158160 w 10037025"/>
              <a:gd name="connsiteY33" fmla="*/ 6858000 h 6858000"/>
              <a:gd name="connsiteX34" fmla="*/ 9142505 w 10037025"/>
              <a:gd name="connsiteY34" fmla="*/ 6858000 h 6858000"/>
              <a:gd name="connsiteX35" fmla="*/ 9100012 w 10037025"/>
              <a:gd name="connsiteY35" fmla="*/ 6858000 h 6858000"/>
              <a:gd name="connsiteX36" fmla="*/ 9064509 w 10037025"/>
              <a:gd name="connsiteY36" fmla="*/ 6858000 h 6858000"/>
              <a:gd name="connsiteX37" fmla="*/ 9017265 w 10037025"/>
              <a:gd name="connsiteY37" fmla="*/ 6858000 h 6858000"/>
              <a:gd name="connsiteX38" fmla="*/ 8956602 w 10037025"/>
              <a:gd name="connsiteY38" fmla="*/ 6858000 h 6858000"/>
              <a:gd name="connsiteX39" fmla="*/ 8880843 w 10037025"/>
              <a:gd name="connsiteY39" fmla="*/ 6858000 h 6858000"/>
              <a:gd name="connsiteX40" fmla="*/ 8788311 w 10037025"/>
              <a:gd name="connsiteY40" fmla="*/ 6858000 h 6858000"/>
              <a:gd name="connsiteX41" fmla="*/ 8677328 w 10037025"/>
              <a:gd name="connsiteY41" fmla="*/ 6858000 h 6858000"/>
              <a:gd name="connsiteX42" fmla="*/ 8546218 w 10037025"/>
              <a:gd name="connsiteY42" fmla="*/ 6858000 h 6858000"/>
              <a:gd name="connsiteX43" fmla="*/ 8393302 w 10037025"/>
              <a:gd name="connsiteY43" fmla="*/ 6858000 h 6858000"/>
              <a:gd name="connsiteX44" fmla="*/ 8216905 w 10037025"/>
              <a:gd name="connsiteY44" fmla="*/ 6858000 h 6858000"/>
              <a:gd name="connsiteX45" fmla="*/ 8015347 w 10037025"/>
              <a:gd name="connsiteY45" fmla="*/ 6858000 h 6858000"/>
              <a:gd name="connsiteX46" fmla="*/ 7786952 w 10037025"/>
              <a:gd name="connsiteY46" fmla="*/ 6858000 h 6858000"/>
              <a:gd name="connsiteX47" fmla="*/ 7530043 w 10037025"/>
              <a:gd name="connsiteY47" fmla="*/ 6858000 h 6858000"/>
              <a:gd name="connsiteX48" fmla="*/ 7242942 w 10037025"/>
              <a:gd name="connsiteY48" fmla="*/ 6858000 h 6858000"/>
              <a:gd name="connsiteX49" fmla="*/ 6923972 w 10037025"/>
              <a:gd name="connsiteY49" fmla="*/ 6858000 h 6858000"/>
              <a:gd name="connsiteX50" fmla="*/ 6571455 w 10037025"/>
              <a:gd name="connsiteY50" fmla="*/ 6858000 h 6858000"/>
              <a:gd name="connsiteX51" fmla="*/ 6183715 w 10037025"/>
              <a:gd name="connsiteY51" fmla="*/ 6858000 h 6858000"/>
              <a:gd name="connsiteX52" fmla="*/ 5759074 w 10037025"/>
              <a:gd name="connsiteY52" fmla="*/ 6858000 h 6858000"/>
              <a:gd name="connsiteX53" fmla="*/ 5295854 w 10037025"/>
              <a:gd name="connsiteY53" fmla="*/ 6858000 h 6858000"/>
              <a:gd name="connsiteX54" fmla="*/ 4792379 w 10037025"/>
              <a:gd name="connsiteY54" fmla="*/ 6858000 h 6858000"/>
              <a:gd name="connsiteX55" fmla="*/ 4246971 w 10037025"/>
              <a:gd name="connsiteY55" fmla="*/ 6858000 h 6858000"/>
              <a:gd name="connsiteX56" fmla="*/ 3657953 w 10037025"/>
              <a:gd name="connsiteY56" fmla="*/ 6858000 h 6858000"/>
              <a:gd name="connsiteX57" fmla="*/ 3023647 w 10037025"/>
              <a:gd name="connsiteY57" fmla="*/ 6858000 h 6858000"/>
              <a:gd name="connsiteX58" fmla="*/ 2342376 w 10037025"/>
              <a:gd name="connsiteY58" fmla="*/ 6858000 h 6858000"/>
              <a:gd name="connsiteX59" fmla="*/ 1612463 w 10037025"/>
              <a:gd name="connsiteY59" fmla="*/ 6858000 h 6858000"/>
              <a:gd name="connsiteX60" fmla="*/ 832230 w 10037025"/>
              <a:gd name="connsiteY60" fmla="*/ 6858000 h 6858000"/>
              <a:gd name="connsiteX61" fmla="*/ 422719 w 10037025"/>
              <a:gd name="connsiteY61" fmla="*/ 6858000 h 6858000"/>
              <a:gd name="connsiteX62" fmla="*/ 0 w 10037025"/>
              <a:gd name="connsiteY6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0037025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1145050" y="0"/>
                </a:lnTo>
                <a:lnTo>
                  <a:pt x="1373445" y="0"/>
                </a:lnTo>
                <a:lnTo>
                  <a:pt x="1630354" y="0"/>
                </a:lnTo>
                <a:lnTo>
                  <a:pt x="1917455" y="0"/>
                </a:lnTo>
                <a:lnTo>
                  <a:pt x="2236425" y="0"/>
                </a:lnTo>
                <a:lnTo>
                  <a:pt x="2588941" y="0"/>
                </a:lnTo>
                <a:lnTo>
                  <a:pt x="2976682" y="0"/>
                </a:lnTo>
                <a:lnTo>
                  <a:pt x="3401323" y="0"/>
                </a:lnTo>
                <a:lnTo>
                  <a:pt x="3864542" y="0"/>
                </a:lnTo>
                <a:lnTo>
                  <a:pt x="4368018" y="0"/>
                </a:lnTo>
                <a:lnTo>
                  <a:pt x="4913426" y="0"/>
                </a:lnTo>
                <a:lnTo>
                  <a:pt x="5502444" y="0"/>
                </a:lnTo>
                <a:lnTo>
                  <a:pt x="6136750" y="0"/>
                </a:lnTo>
                <a:lnTo>
                  <a:pt x="6818021" y="0"/>
                </a:lnTo>
                <a:lnTo>
                  <a:pt x="7547934" y="0"/>
                </a:lnTo>
                <a:lnTo>
                  <a:pt x="8328167" y="0"/>
                </a:lnTo>
                <a:lnTo>
                  <a:pt x="8737677" y="0"/>
                </a:lnTo>
                <a:lnTo>
                  <a:pt x="9160396" y="0"/>
                </a:lnTo>
                <a:cubicBezTo>
                  <a:pt x="9719106" y="1018571"/>
                  <a:pt x="10037025" y="2187207"/>
                  <a:pt x="10037025" y="3429000"/>
                </a:cubicBezTo>
                <a:cubicBezTo>
                  <a:pt x="10037025" y="4671731"/>
                  <a:pt x="9719106" y="5839430"/>
                  <a:pt x="9160396" y="6858000"/>
                </a:cubicBezTo>
                <a:lnTo>
                  <a:pt x="9158160" y="6858000"/>
                </a:lnTo>
                <a:lnTo>
                  <a:pt x="9142505" y="6858000"/>
                </a:lnTo>
                <a:lnTo>
                  <a:pt x="9100012" y="6858000"/>
                </a:lnTo>
                <a:lnTo>
                  <a:pt x="9064509" y="6858000"/>
                </a:lnTo>
                <a:lnTo>
                  <a:pt x="9017265" y="6858000"/>
                </a:lnTo>
                <a:lnTo>
                  <a:pt x="8956602" y="6858000"/>
                </a:lnTo>
                <a:lnTo>
                  <a:pt x="8880843" y="6858000"/>
                </a:lnTo>
                <a:lnTo>
                  <a:pt x="8788311" y="6858000"/>
                </a:lnTo>
                <a:lnTo>
                  <a:pt x="8677328" y="6858000"/>
                </a:lnTo>
                <a:lnTo>
                  <a:pt x="8546218" y="6858000"/>
                </a:lnTo>
                <a:lnTo>
                  <a:pt x="8393302" y="6858000"/>
                </a:lnTo>
                <a:lnTo>
                  <a:pt x="8216905" y="6858000"/>
                </a:lnTo>
                <a:lnTo>
                  <a:pt x="8015347" y="6858000"/>
                </a:lnTo>
                <a:lnTo>
                  <a:pt x="7786952" y="6858000"/>
                </a:lnTo>
                <a:lnTo>
                  <a:pt x="7530043" y="6858000"/>
                </a:lnTo>
                <a:lnTo>
                  <a:pt x="7242942" y="6858000"/>
                </a:lnTo>
                <a:lnTo>
                  <a:pt x="6923972" y="6858000"/>
                </a:lnTo>
                <a:lnTo>
                  <a:pt x="6571455" y="6858000"/>
                </a:lnTo>
                <a:lnTo>
                  <a:pt x="6183715" y="6858000"/>
                </a:lnTo>
                <a:lnTo>
                  <a:pt x="5759074" y="6858000"/>
                </a:lnTo>
                <a:lnTo>
                  <a:pt x="5295854" y="6858000"/>
                </a:lnTo>
                <a:lnTo>
                  <a:pt x="4792379" y="6858000"/>
                </a:lnTo>
                <a:lnTo>
                  <a:pt x="4246971" y="6858000"/>
                </a:lnTo>
                <a:lnTo>
                  <a:pt x="3657953" y="6858000"/>
                </a:lnTo>
                <a:lnTo>
                  <a:pt x="3023647" y="6858000"/>
                </a:lnTo>
                <a:lnTo>
                  <a:pt x="2342376" y="6858000"/>
                </a:lnTo>
                <a:lnTo>
                  <a:pt x="161246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C370884F-6311-49C2-8806-A75B8B32042D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0029017" cy="6852528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 indent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US" sz="2000" b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  <a:sym typeface="Proxima Nova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B9C0A1B-76CD-4696-B899-CF5A9E3B65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7861" y="5772912"/>
            <a:ext cx="1314781" cy="752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001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ef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29A41F1-58BA-49CE-9836-9967CA87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1" y="0"/>
            <a:ext cx="6095999" cy="6858000"/>
          </a:xfrm>
          <a:custGeom>
            <a:avLst/>
            <a:gdLst>
              <a:gd name="connsiteX0" fmla="*/ 0 w 6095999"/>
              <a:gd name="connsiteY0" fmla="*/ 0 h 6858000"/>
              <a:gd name="connsiteX1" fmla="*/ 2237 w 6095999"/>
              <a:gd name="connsiteY1" fmla="*/ 0 h 6858000"/>
              <a:gd name="connsiteX2" fmla="*/ 17892 w 6095999"/>
              <a:gd name="connsiteY2" fmla="*/ 0 h 6858000"/>
              <a:gd name="connsiteX3" fmla="*/ 60384 w 6095999"/>
              <a:gd name="connsiteY3" fmla="*/ 0 h 6858000"/>
              <a:gd name="connsiteX4" fmla="*/ 95887 w 6095999"/>
              <a:gd name="connsiteY4" fmla="*/ 0 h 6858000"/>
              <a:gd name="connsiteX5" fmla="*/ 143131 w 6095999"/>
              <a:gd name="connsiteY5" fmla="*/ 0 h 6858000"/>
              <a:gd name="connsiteX6" fmla="*/ 203794 w 6095999"/>
              <a:gd name="connsiteY6" fmla="*/ 0 h 6858000"/>
              <a:gd name="connsiteX7" fmla="*/ 279553 w 6095999"/>
              <a:gd name="connsiteY7" fmla="*/ 0 h 6858000"/>
              <a:gd name="connsiteX8" fmla="*/ 372085 w 6095999"/>
              <a:gd name="connsiteY8" fmla="*/ 0 h 6858000"/>
              <a:gd name="connsiteX9" fmla="*/ 426992 w 6095999"/>
              <a:gd name="connsiteY9" fmla="*/ 0 h 6858000"/>
              <a:gd name="connsiteX10" fmla="*/ 483068 w 6095999"/>
              <a:gd name="connsiteY10" fmla="*/ 0 h 6858000"/>
              <a:gd name="connsiteX11" fmla="*/ 614178 w 6095999"/>
              <a:gd name="connsiteY11" fmla="*/ 0 h 6858000"/>
              <a:gd name="connsiteX12" fmla="*/ 767094 w 6095999"/>
              <a:gd name="connsiteY12" fmla="*/ 0 h 6858000"/>
              <a:gd name="connsiteX13" fmla="*/ 943492 w 6095999"/>
              <a:gd name="connsiteY13" fmla="*/ 0 h 6858000"/>
              <a:gd name="connsiteX14" fmla="*/ 972400 w 6095999"/>
              <a:gd name="connsiteY14" fmla="*/ 0 h 6858000"/>
              <a:gd name="connsiteX15" fmla="*/ 1145050 w 6095999"/>
              <a:gd name="connsiteY15" fmla="*/ 0 h 6858000"/>
              <a:gd name="connsiteX16" fmla="*/ 1373445 w 6095999"/>
              <a:gd name="connsiteY16" fmla="*/ 0 h 6858000"/>
              <a:gd name="connsiteX17" fmla="*/ 1561418 w 6095999"/>
              <a:gd name="connsiteY17" fmla="*/ 0 h 6858000"/>
              <a:gd name="connsiteX18" fmla="*/ 1630354 w 6095999"/>
              <a:gd name="connsiteY18" fmla="*/ 0 h 6858000"/>
              <a:gd name="connsiteX19" fmla="*/ 1917455 w 6095999"/>
              <a:gd name="connsiteY19" fmla="*/ 0 h 6858000"/>
              <a:gd name="connsiteX20" fmla="*/ 2195724 w 6095999"/>
              <a:gd name="connsiteY20" fmla="*/ 0 h 6858000"/>
              <a:gd name="connsiteX21" fmla="*/ 2236425 w 6095999"/>
              <a:gd name="connsiteY21" fmla="*/ 0 h 6858000"/>
              <a:gd name="connsiteX22" fmla="*/ 2588941 w 6095999"/>
              <a:gd name="connsiteY22" fmla="*/ 0 h 6858000"/>
              <a:gd name="connsiteX23" fmla="*/ 2876995 w 6095999"/>
              <a:gd name="connsiteY23" fmla="*/ 0 h 6858000"/>
              <a:gd name="connsiteX24" fmla="*/ 2976682 w 6095999"/>
              <a:gd name="connsiteY24" fmla="*/ 0 h 6858000"/>
              <a:gd name="connsiteX25" fmla="*/ 3401323 w 6095999"/>
              <a:gd name="connsiteY25" fmla="*/ 0 h 6858000"/>
              <a:gd name="connsiteX26" fmla="*/ 3606908 w 6095999"/>
              <a:gd name="connsiteY26" fmla="*/ 0 h 6858000"/>
              <a:gd name="connsiteX27" fmla="*/ 3864542 w 6095999"/>
              <a:gd name="connsiteY27" fmla="*/ 0 h 6858000"/>
              <a:gd name="connsiteX28" fmla="*/ 4368018 w 6095999"/>
              <a:gd name="connsiteY28" fmla="*/ 0 h 6858000"/>
              <a:gd name="connsiteX29" fmla="*/ 4387141 w 6095999"/>
              <a:gd name="connsiteY29" fmla="*/ 0 h 6858000"/>
              <a:gd name="connsiteX30" fmla="*/ 4796651 w 6095999"/>
              <a:gd name="connsiteY30" fmla="*/ 0 h 6858000"/>
              <a:gd name="connsiteX31" fmla="*/ 4913426 w 6095999"/>
              <a:gd name="connsiteY31" fmla="*/ 0 h 6858000"/>
              <a:gd name="connsiteX32" fmla="*/ 5219370 w 6095999"/>
              <a:gd name="connsiteY32" fmla="*/ 0 h 6858000"/>
              <a:gd name="connsiteX33" fmla="*/ 6095999 w 6095999"/>
              <a:gd name="connsiteY33" fmla="*/ 3429000 h 6858000"/>
              <a:gd name="connsiteX34" fmla="*/ 5219370 w 6095999"/>
              <a:gd name="connsiteY34" fmla="*/ 6858000 h 6858000"/>
              <a:gd name="connsiteX35" fmla="*/ 5217134 w 6095999"/>
              <a:gd name="connsiteY35" fmla="*/ 6858000 h 6858000"/>
              <a:gd name="connsiteX36" fmla="*/ 5201479 w 6095999"/>
              <a:gd name="connsiteY36" fmla="*/ 6858000 h 6858000"/>
              <a:gd name="connsiteX37" fmla="*/ 5158986 w 6095999"/>
              <a:gd name="connsiteY37" fmla="*/ 6858000 h 6858000"/>
              <a:gd name="connsiteX38" fmla="*/ 5123483 w 6095999"/>
              <a:gd name="connsiteY38" fmla="*/ 6858000 h 6858000"/>
              <a:gd name="connsiteX39" fmla="*/ 5076239 w 6095999"/>
              <a:gd name="connsiteY39" fmla="*/ 6858000 h 6858000"/>
              <a:gd name="connsiteX40" fmla="*/ 5015576 w 6095999"/>
              <a:gd name="connsiteY40" fmla="*/ 6858000 h 6858000"/>
              <a:gd name="connsiteX41" fmla="*/ 4939817 w 6095999"/>
              <a:gd name="connsiteY41" fmla="*/ 6858000 h 6858000"/>
              <a:gd name="connsiteX42" fmla="*/ 4847285 w 6095999"/>
              <a:gd name="connsiteY42" fmla="*/ 6858000 h 6858000"/>
              <a:gd name="connsiteX43" fmla="*/ 4792379 w 6095999"/>
              <a:gd name="connsiteY43" fmla="*/ 6858000 h 6858000"/>
              <a:gd name="connsiteX44" fmla="*/ 4736302 w 6095999"/>
              <a:gd name="connsiteY44" fmla="*/ 6858000 h 6858000"/>
              <a:gd name="connsiteX45" fmla="*/ 4605192 w 6095999"/>
              <a:gd name="connsiteY45" fmla="*/ 6858000 h 6858000"/>
              <a:gd name="connsiteX46" fmla="*/ 4452276 w 6095999"/>
              <a:gd name="connsiteY46" fmla="*/ 6858000 h 6858000"/>
              <a:gd name="connsiteX47" fmla="*/ 4275879 w 6095999"/>
              <a:gd name="connsiteY47" fmla="*/ 6858000 h 6858000"/>
              <a:gd name="connsiteX48" fmla="*/ 4246971 w 6095999"/>
              <a:gd name="connsiteY48" fmla="*/ 6858000 h 6858000"/>
              <a:gd name="connsiteX49" fmla="*/ 4074321 w 6095999"/>
              <a:gd name="connsiteY49" fmla="*/ 6858000 h 6858000"/>
              <a:gd name="connsiteX50" fmla="*/ 3845926 w 6095999"/>
              <a:gd name="connsiteY50" fmla="*/ 6858000 h 6858000"/>
              <a:gd name="connsiteX51" fmla="*/ 3657953 w 6095999"/>
              <a:gd name="connsiteY51" fmla="*/ 6858000 h 6858000"/>
              <a:gd name="connsiteX52" fmla="*/ 3589017 w 6095999"/>
              <a:gd name="connsiteY52" fmla="*/ 6858000 h 6858000"/>
              <a:gd name="connsiteX53" fmla="*/ 3301916 w 6095999"/>
              <a:gd name="connsiteY53" fmla="*/ 6858000 h 6858000"/>
              <a:gd name="connsiteX54" fmla="*/ 3023647 w 6095999"/>
              <a:gd name="connsiteY54" fmla="*/ 6858000 h 6858000"/>
              <a:gd name="connsiteX55" fmla="*/ 2982946 w 6095999"/>
              <a:gd name="connsiteY55" fmla="*/ 6858000 h 6858000"/>
              <a:gd name="connsiteX56" fmla="*/ 2630429 w 6095999"/>
              <a:gd name="connsiteY56" fmla="*/ 6858000 h 6858000"/>
              <a:gd name="connsiteX57" fmla="*/ 2342376 w 6095999"/>
              <a:gd name="connsiteY57" fmla="*/ 6858000 h 6858000"/>
              <a:gd name="connsiteX58" fmla="*/ 2242689 w 6095999"/>
              <a:gd name="connsiteY58" fmla="*/ 6858000 h 6858000"/>
              <a:gd name="connsiteX59" fmla="*/ 1818048 w 6095999"/>
              <a:gd name="connsiteY59" fmla="*/ 6858000 h 6858000"/>
              <a:gd name="connsiteX60" fmla="*/ 1612463 w 6095999"/>
              <a:gd name="connsiteY60" fmla="*/ 6858000 h 6858000"/>
              <a:gd name="connsiteX61" fmla="*/ 1354828 w 6095999"/>
              <a:gd name="connsiteY61" fmla="*/ 6858000 h 6858000"/>
              <a:gd name="connsiteX62" fmla="*/ 851353 w 6095999"/>
              <a:gd name="connsiteY62" fmla="*/ 6858000 h 6858000"/>
              <a:gd name="connsiteX63" fmla="*/ 832230 w 6095999"/>
              <a:gd name="connsiteY63" fmla="*/ 6858000 h 6858000"/>
              <a:gd name="connsiteX64" fmla="*/ 422719 w 6095999"/>
              <a:gd name="connsiteY64" fmla="*/ 6858000 h 6858000"/>
              <a:gd name="connsiteX65" fmla="*/ 305945 w 6095999"/>
              <a:gd name="connsiteY65" fmla="*/ 6858000 h 6858000"/>
              <a:gd name="connsiteX66" fmla="*/ 0 w 6095999"/>
              <a:gd name="connsiteY6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95999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26992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972400" y="0"/>
                </a:lnTo>
                <a:lnTo>
                  <a:pt x="1145050" y="0"/>
                </a:lnTo>
                <a:lnTo>
                  <a:pt x="1373445" y="0"/>
                </a:lnTo>
                <a:lnTo>
                  <a:pt x="1561418" y="0"/>
                </a:lnTo>
                <a:lnTo>
                  <a:pt x="1630354" y="0"/>
                </a:lnTo>
                <a:lnTo>
                  <a:pt x="1917455" y="0"/>
                </a:lnTo>
                <a:lnTo>
                  <a:pt x="2195724" y="0"/>
                </a:lnTo>
                <a:lnTo>
                  <a:pt x="2236425" y="0"/>
                </a:lnTo>
                <a:lnTo>
                  <a:pt x="2588941" y="0"/>
                </a:lnTo>
                <a:lnTo>
                  <a:pt x="2876995" y="0"/>
                </a:lnTo>
                <a:lnTo>
                  <a:pt x="2976682" y="0"/>
                </a:lnTo>
                <a:lnTo>
                  <a:pt x="3401323" y="0"/>
                </a:lnTo>
                <a:lnTo>
                  <a:pt x="3606908" y="0"/>
                </a:lnTo>
                <a:lnTo>
                  <a:pt x="3864542" y="0"/>
                </a:lnTo>
                <a:lnTo>
                  <a:pt x="4368018" y="0"/>
                </a:lnTo>
                <a:lnTo>
                  <a:pt x="4387141" y="0"/>
                </a:lnTo>
                <a:lnTo>
                  <a:pt x="4796651" y="0"/>
                </a:lnTo>
                <a:lnTo>
                  <a:pt x="4913426" y="0"/>
                </a:lnTo>
                <a:lnTo>
                  <a:pt x="5219370" y="0"/>
                </a:lnTo>
                <a:cubicBezTo>
                  <a:pt x="5778080" y="1018571"/>
                  <a:pt x="6095999" y="2187207"/>
                  <a:pt x="6095999" y="3429000"/>
                </a:cubicBezTo>
                <a:cubicBezTo>
                  <a:pt x="6095999" y="4671731"/>
                  <a:pt x="5778080" y="5839430"/>
                  <a:pt x="5219370" y="6858000"/>
                </a:cubicBezTo>
                <a:lnTo>
                  <a:pt x="5217134" y="6858000"/>
                </a:lnTo>
                <a:lnTo>
                  <a:pt x="5201479" y="6858000"/>
                </a:lnTo>
                <a:lnTo>
                  <a:pt x="5158986" y="6858000"/>
                </a:lnTo>
                <a:lnTo>
                  <a:pt x="5123483" y="6858000"/>
                </a:lnTo>
                <a:lnTo>
                  <a:pt x="5076239" y="6858000"/>
                </a:lnTo>
                <a:lnTo>
                  <a:pt x="5015576" y="6858000"/>
                </a:lnTo>
                <a:lnTo>
                  <a:pt x="4939817" y="6858000"/>
                </a:lnTo>
                <a:lnTo>
                  <a:pt x="4847285" y="6858000"/>
                </a:lnTo>
                <a:lnTo>
                  <a:pt x="4792379" y="6858000"/>
                </a:lnTo>
                <a:lnTo>
                  <a:pt x="4736302" y="6858000"/>
                </a:lnTo>
                <a:lnTo>
                  <a:pt x="4605192" y="6858000"/>
                </a:lnTo>
                <a:lnTo>
                  <a:pt x="4452276" y="6858000"/>
                </a:lnTo>
                <a:lnTo>
                  <a:pt x="4275879" y="6858000"/>
                </a:lnTo>
                <a:lnTo>
                  <a:pt x="4246971" y="6858000"/>
                </a:lnTo>
                <a:lnTo>
                  <a:pt x="4074321" y="6858000"/>
                </a:lnTo>
                <a:lnTo>
                  <a:pt x="3845926" y="6858000"/>
                </a:lnTo>
                <a:lnTo>
                  <a:pt x="3657953" y="6858000"/>
                </a:lnTo>
                <a:lnTo>
                  <a:pt x="3589017" y="6858000"/>
                </a:lnTo>
                <a:lnTo>
                  <a:pt x="3301916" y="6858000"/>
                </a:lnTo>
                <a:lnTo>
                  <a:pt x="3023647" y="6858000"/>
                </a:lnTo>
                <a:lnTo>
                  <a:pt x="2982946" y="6858000"/>
                </a:lnTo>
                <a:lnTo>
                  <a:pt x="2630429" y="6858000"/>
                </a:lnTo>
                <a:lnTo>
                  <a:pt x="2342376" y="6858000"/>
                </a:lnTo>
                <a:lnTo>
                  <a:pt x="2242689" y="6858000"/>
                </a:lnTo>
                <a:lnTo>
                  <a:pt x="1818048" y="6858000"/>
                </a:lnTo>
                <a:lnTo>
                  <a:pt x="1612463" y="6858000"/>
                </a:lnTo>
                <a:lnTo>
                  <a:pt x="1354828" y="6858000"/>
                </a:lnTo>
                <a:lnTo>
                  <a:pt x="85135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3059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31000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1000" y="167677"/>
            <a:ext cx="4967224" cy="897970"/>
          </a:xfrm>
        </p:spPr>
        <p:txBody>
          <a:bodyPr>
            <a:noAutofit/>
          </a:bodyPr>
          <a:lstStyle>
            <a:lvl1pPr>
              <a:defRPr sz="4300"/>
            </a:lvl1pPr>
          </a:lstStyle>
          <a:p>
            <a:r>
              <a:rPr lang="en-US"/>
              <a:t>Placeholder title</a:t>
            </a:r>
          </a:p>
        </p:txBody>
      </p:sp>
    </p:spTree>
    <p:extLst>
      <p:ext uri="{BB962C8B-B14F-4D97-AF65-F5344CB8AC3E}">
        <p14:creationId xmlns:p14="http://schemas.microsoft.com/office/powerpoint/2010/main" val="2658800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R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76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4967224" cy="897970"/>
          </a:xfrm>
        </p:spPr>
        <p:txBody>
          <a:bodyPr>
            <a:noAutofit/>
          </a:bodyPr>
          <a:lstStyle>
            <a:lvl1pPr>
              <a:defRPr sz="43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919739B-51A2-4ADE-AAB0-76FE3337933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1" y="0"/>
            <a:ext cx="6096001" cy="6858000"/>
          </a:xfrm>
          <a:custGeom>
            <a:avLst/>
            <a:gdLst>
              <a:gd name="connsiteX0" fmla="*/ 876629 w 6096001"/>
              <a:gd name="connsiteY0" fmla="*/ 0 h 6858000"/>
              <a:gd name="connsiteX1" fmla="*/ 1299348 w 6096001"/>
              <a:gd name="connsiteY1" fmla="*/ 0 h 6858000"/>
              <a:gd name="connsiteX2" fmla="*/ 1708858 w 6096001"/>
              <a:gd name="connsiteY2" fmla="*/ 0 h 6858000"/>
              <a:gd name="connsiteX3" fmla="*/ 2489091 w 6096001"/>
              <a:gd name="connsiteY3" fmla="*/ 0 h 6858000"/>
              <a:gd name="connsiteX4" fmla="*/ 3219004 w 6096001"/>
              <a:gd name="connsiteY4" fmla="*/ 0 h 6858000"/>
              <a:gd name="connsiteX5" fmla="*/ 3900275 w 6096001"/>
              <a:gd name="connsiteY5" fmla="*/ 0 h 6858000"/>
              <a:gd name="connsiteX6" fmla="*/ 4534581 w 6096001"/>
              <a:gd name="connsiteY6" fmla="*/ 0 h 6858000"/>
              <a:gd name="connsiteX7" fmla="*/ 5123599 w 6096001"/>
              <a:gd name="connsiteY7" fmla="*/ 0 h 6858000"/>
              <a:gd name="connsiteX8" fmla="*/ 5669007 w 6096001"/>
              <a:gd name="connsiteY8" fmla="*/ 0 h 6858000"/>
              <a:gd name="connsiteX9" fmla="*/ 6096001 w 6096001"/>
              <a:gd name="connsiteY9" fmla="*/ 0 h 6858000"/>
              <a:gd name="connsiteX10" fmla="*/ 6096001 w 6096001"/>
              <a:gd name="connsiteY10" fmla="*/ 6858000 h 6858000"/>
              <a:gd name="connsiteX11" fmla="*/ 5790054 w 6096001"/>
              <a:gd name="connsiteY11" fmla="*/ 6858000 h 6858000"/>
              <a:gd name="connsiteX12" fmla="*/ 5244646 w 6096001"/>
              <a:gd name="connsiteY12" fmla="*/ 6858000 h 6858000"/>
              <a:gd name="connsiteX13" fmla="*/ 4741171 w 6096001"/>
              <a:gd name="connsiteY13" fmla="*/ 6858000 h 6858000"/>
              <a:gd name="connsiteX14" fmla="*/ 4277951 w 6096001"/>
              <a:gd name="connsiteY14" fmla="*/ 6858000 h 6858000"/>
              <a:gd name="connsiteX15" fmla="*/ 3853310 w 6096001"/>
              <a:gd name="connsiteY15" fmla="*/ 6858000 h 6858000"/>
              <a:gd name="connsiteX16" fmla="*/ 3465570 w 6096001"/>
              <a:gd name="connsiteY16" fmla="*/ 6858000 h 6858000"/>
              <a:gd name="connsiteX17" fmla="*/ 3113053 w 6096001"/>
              <a:gd name="connsiteY17" fmla="*/ 6858000 h 6858000"/>
              <a:gd name="connsiteX18" fmla="*/ 2794083 w 6096001"/>
              <a:gd name="connsiteY18" fmla="*/ 6858000 h 6858000"/>
              <a:gd name="connsiteX19" fmla="*/ 2506982 w 6096001"/>
              <a:gd name="connsiteY19" fmla="*/ 6858000 h 6858000"/>
              <a:gd name="connsiteX20" fmla="*/ 2250073 w 6096001"/>
              <a:gd name="connsiteY20" fmla="*/ 6858000 h 6858000"/>
              <a:gd name="connsiteX21" fmla="*/ 2021678 w 6096001"/>
              <a:gd name="connsiteY21" fmla="*/ 6858000 h 6858000"/>
              <a:gd name="connsiteX22" fmla="*/ 1820120 w 6096001"/>
              <a:gd name="connsiteY22" fmla="*/ 6858000 h 6858000"/>
              <a:gd name="connsiteX23" fmla="*/ 1643723 w 6096001"/>
              <a:gd name="connsiteY23" fmla="*/ 6858000 h 6858000"/>
              <a:gd name="connsiteX24" fmla="*/ 1490807 w 6096001"/>
              <a:gd name="connsiteY24" fmla="*/ 6858000 h 6858000"/>
              <a:gd name="connsiteX25" fmla="*/ 1359697 w 6096001"/>
              <a:gd name="connsiteY25" fmla="*/ 6858000 h 6858000"/>
              <a:gd name="connsiteX26" fmla="*/ 1248714 w 6096001"/>
              <a:gd name="connsiteY26" fmla="*/ 6858000 h 6858000"/>
              <a:gd name="connsiteX27" fmla="*/ 1156182 w 6096001"/>
              <a:gd name="connsiteY27" fmla="*/ 6858000 h 6858000"/>
              <a:gd name="connsiteX28" fmla="*/ 1080423 w 6096001"/>
              <a:gd name="connsiteY28" fmla="*/ 6858000 h 6858000"/>
              <a:gd name="connsiteX29" fmla="*/ 1019760 w 6096001"/>
              <a:gd name="connsiteY29" fmla="*/ 6858000 h 6858000"/>
              <a:gd name="connsiteX30" fmla="*/ 972516 w 6096001"/>
              <a:gd name="connsiteY30" fmla="*/ 6858000 h 6858000"/>
              <a:gd name="connsiteX31" fmla="*/ 937013 w 6096001"/>
              <a:gd name="connsiteY31" fmla="*/ 6858000 h 6858000"/>
              <a:gd name="connsiteX32" fmla="*/ 894520 w 6096001"/>
              <a:gd name="connsiteY32" fmla="*/ 6858000 h 6858000"/>
              <a:gd name="connsiteX33" fmla="*/ 878865 w 6096001"/>
              <a:gd name="connsiteY33" fmla="*/ 6858000 h 6858000"/>
              <a:gd name="connsiteX34" fmla="*/ 876629 w 6096001"/>
              <a:gd name="connsiteY34" fmla="*/ 6858000 h 6858000"/>
              <a:gd name="connsiteX35" fmla="*/ 0 w 6096001"/>
              <a:gd name="connsiteY35" fmla="*/ 3429000 h 6858000"/>
              <a:gd name="connsiteX36" fmla="*/ 876629 w 6096001"/>
              <a:gd name="connsiteY3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96001" h="6858000">
                <a:moveTo>
                  <a:pt x="876629" y="0"/>
                </a:moveTo>
                <a:lnTo>
                  <a:pt x="1299348" y="0"/>
                </a:lnTo>
                <a:lnTo>
                  <a:pt x="1708858" y="0"/>
                </a:lnTo>
                <a:lnTo>
                  <a:pt x="2489091" y="0"/>
                </a:lnTo>
                <a:lnTo>
                  <a:pt x="3219004" y="0"/>
                </a:lnTo>
                <a:lnTo>
                  <a:pt x="3900275" y="0"/>
                </a:lnTo>
                <a:lnTo>
                  <a:pt x="4534581" y="0"/>
                </a:lnTo>
                <a:lnTo>
                  <a:pt x="5123599" y="0"/>
                </a:lnTo>
                <a:lnTo>
                  <a:pt x="5669007" y="0"/>
                </a:lnTo>
                <a:lnTo>
                  <a:pt x="6096001" y="0"/>
                </a:lnTo>
                <a:lnTo>
                  <a:pt x="6096001" y="6858000"/>
                </a:lnTo>
                <a:lnTo>
                  <a:pt x="5790054" y="6858000"/>
                </a:lnTo>
                <a:lnTo>
                  <a:pt x="5244646" y="6858000"/>
                </a:lnTo>
                <a:lnTo>
                  <a:pt x="4741171" y="6858000"/>
                </a:lnTo>
                <a:lnTo>
                  <a:pt x="4277951" y="6858000"/>
                </a:lnTo>
                <a:lnTo>
                  <a:pt x="3853310" y="6858000"/>
                </a:lnTo>
                <a:lnTo>
                  <a:pt x="3465570" y="6858000"/>
                </a:lnTo>
                <a:lnTo>
                  <a:pt x="3113053" y="6858000"/>
                </a:lnTo>
                <a:lnTo>
                  <a:pt x="2794083" y="6858000"/>
                </a:lnTo>
                <a:lnTo>
                  <a:pt x="2506982" y="6858000"/>
                </a:lnTo>
                <a:lnTo>
                  <a:pt x="2250073" y="6858000"/>
                </a:lnTo>
                <a:lnTo>
                  <a:pt x="2021678" y="6858000"/>
                </a:lnTo>
                <a:lnTo>
                  <a:pt x="1820120" y="6858000"/>
                </a:lnTo>
                <a:lnTo>
                  <a:pt x="1643723" y="6858000"/>
                </a:lnTo>
                <a:lnTo>
                  <a:pt x="1490807" y="6858000"/>
                </a:lnTo>
                <a:lnTo>
                  <a:pt x="1359697" y="6858000"/>
                </a:lnTo>
                <a:lnTo>
                  <a:pt x="1248714" y="6858000"/>
                </a:lnTo>
                <a:lnTo>
                  <a:pt x="1156182" y="6858000"/>
                </a:lnTo>
                <a:lnTo>
                  <a:pt x="1080423" y="6858000"/>
                </a:lnTo>
                <a:lnTo>
                  <a:pt x="1019760" y="6858000"/>
                </a:lnTo>
                <a:lnTo>
                  <a:pt x="972516" y="6858000"/>
                </a:lnTo>
                <a:lnTo>
                  <a:pt x="937013" y="6858000"/>
                </a:lnTo>
                <a:lnTo>
                  <a:pt x="894520" y="6858000"/>
                </a:lnTo>
                <a:lnTo>
                  <a:pt x="878865" y="6858000"/>
                </a:lnTo>
                <a:lnTo>
                  <a:pt x="876629" y="6858000"/>
                </a:lnTo>
                <a:cubicBezTo>
                  <a:pt x="317919" y="5839430"/>
                  <a:pt x="0" y="4671731"/>
                  <a:pt x="0" y="3429000"/>
                </a:cubicBezTo>
                <a:cubicBezTo>
                  <a:pt x="0" y="2187207"/>
                  <a:pt x="317919" y="1018571"/>
                  <a:pt x="876629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00584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5891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(Multi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6F15D45E-1A29-46E9-B58E-872FED8D000F}"/>
              </a:ext>
            </a:extLst>
          </p:cNvPr>
          <p:cNvSpPr/>
          <p:nvPr userDrawn="1"/>
        </p:nvSpPr>
        <p:spPr bwMode="auto">
          <a:xfrm>
            <a:off x="829543" y="1545167"/>
            <a:ext cx="2905618" cy="2905618"/>
          </a:xfrm>
          <a:prstGeom prst="ellipse">
            <a:avLst/>
          </a:pr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82880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Proxima Nova" panose="02000506030000020004" pitchFamily="50" charset="0"/>
              <a:ea typeface="Proxima Nova Light" charset="0"/>
              <a:cs typeface="Proxima Nova Light" charset="0"/>
              <a:sym typeface="Proxima Nova Light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81DC18-66F7-491B-8089-60DD8E1AB1AA}"/>
              </a:ext>
            </a:extLst>
          </p:cNvPr>
          <p:cNvSpPr/>
          <p:nvPr userDrawn="1"/>
        </p:nvSpPr>
        <p:spPr bwMode="auto">
          <a:xfrm>
            <a:off x="4643191" y="1545167"/>
            <a:ext cx="2905618" cy="2905618"/>
          </a:xfrm>
          <a:prstGeom prst="ellipse">
            <a:avLst/>
          </a:pr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82880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Proxima Nova" panose="02000506030000020004" pitchFamily="50" charset="0"/>
              <a:ea typeface="Proxima Nova Light" charset="0"/>
              <a:cs typeface="Proxima Nova Light" charset="0"/>
              <a:sym typeface="Proxima Nova Light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5A85B8-9A99-4F3C-933A-121390A9334B}"/>
              </a:ext>
            </a:extLst>
          </p:cNvPr>
          <p:cNvSpPr/>
          <p:nvPr userDrawn="1"/>
        </p:nvSpPr>
        <p:spPr bwMode="auto">
          <a:xfrm>
            <a:off x="8456839" y="1545167"/>
            <a:ext cx="2905618" cy="2905618"/>
          </a:xfrm>
          <a:prstGeom prst="ellipse">
            <a:avLst/>
          </a:pr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82880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Proxima Nova" panose="02000506030000020004" pitchFamily="50" charset="0"/>
              <a:ea typeface="Proxima Nova Light" charset="0"/>
              <a:cs typeface="Proxima Nova Light" charset="0"/>
              <a:sym typeface="Proxima Nova Light" charset="0"/>
            </a:endParaRP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CA44ADC-5231-43AF-906E-A8DDA719957B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910127" y="1625783"/>
            <a:ext cx="2741646" cy="27432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ECE4A802-C7F3-4538-B1FB-98E6F6127650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4723775" y="1625783"/>
            <a:ext cx="2741646" cy="27432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5B525A51-4DF4-42AF-82A8-0F5A36D8AA4E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8537423" y="1625783"/>
            <a:ext cx="2741646" cy="27432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7BFF989-2765-4A09-8AE8-E2ACBBE59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736" y="4866948"/>
            <a:ext cx="2606675" cy="1019175"/>
          </a:xfrm>
          <a:prstGeom prst="rect">
            <a:avLst/>
          </a:prstGeo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1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91C01F98-B49B-4B32-B1BB-B41E8EA15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2663" y="4866948"/>
            <a:ext cx="2606675" cy="1019175"/>
          </a:xfrm>
          <a:prstGeom prst="rect">
            <a:avLst/>
          </a:prstGeo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2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FC7C06E5-7271-4B89-AB80-DD09B51F8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6310" y="4866948"/>
            <a:ext cx="2606675" cy="1019175"/>
          </a:xfrm>
          <a:prstGeom prst="rect">
            <a:avLst/>
          </a:prstGeo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3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F8D4E7B-DD8A-4462-A940-F3A1029BC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0"/>
          </a:xfrm>
        </p:spPr>
        <p:txBody>
          <a:bodyPr>
            <a:noAutofit/>
          </a:bodyPr>
          <a:lstStyle>
            <a:lvl1pPr>
              <a:defRPr sz="43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687AD78-C7CE-483F-A943-DD4741F0A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049BB6-04FD-4FD2-B4E8-8FE0B4744BF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0798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with Body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B34ABD-61F5-4AA6-B0FF-B8FD67F5198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93776" y="1306274"/>
            <a:ext cx="5741924" cy="487015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F289E38-44F5-4D8D-9EE0-619201D57247}"/>
              </a:ext>
            </a:extLst>
          </p:cNvPr>
          <p:cNvSpPr/>
          <p:nvPr userDrawn="1"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640C6A-CF77-4953-9AD6-63845305FE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6580124" cy="897970"/>
          </a:xfrm>
        </p:spPr>
        <p:txBody>
          <a:bodyPr/>
          <a:lstStyle>
            <a:lvl1pPr>
              <a:defRPr sz="4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B6EFA928-550A-425C-9E54-627E2710A1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345784" y="747173"/>
            <a:ext cx="7506866" cy="751112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A576447A-4E33-419A-975F-8E6D8E8D0226}"/>
              </a:ext>
            </a:extLst>
          </p:cNvPr>
          <p:cNvSpPr>
            <a:spLocks noEditPoints="1"/>
          </p:cNvSpPr>
          <p:nvPr userDrawn="1"/>
        </p:nvSpPr>
        <p:spPr bwMode="ltGray">
          <a:xfrm>
            <a:off x="7244184" y="647700"/>
            <a:ext cx="7710066" cy="7683585"/>
          </a:xfrm>
          <a:custGeom>
            <a:avLst/>
            <a:gdLst>
              <a:gd name="T0" fmla="*/ 1000 w 2000"/>
              <a:gd name="T1" fmla="*/ 2000 h 2000"/>
              <a:gd name="T2" fmla="*/ 0 w 2000"/>
              <a:gd name="T3" fmla="*/ 1000 h 2000"/>
              <a:gd name="T4" fmla="*/ 1000 w 2000"/>
              <a:gd name="T5" fmla="*/ 0 h 2000"/>
              <a:gd name="T6" fmla="*/ 2000 w 2000"/>
              <a:gd name="T7" fmla="*/ 1000 h 2000"/>
              <a:gd name="T8" fmla="*/ 1000 w 2000"/>
              <a:gd name="T9" fmla="*/ 2000 h 2000"/>
              <a:gd name="T10" fmla="*/ 1970 w 2000"/>
              <a:gd name="T11" fmla="*/ 1000 h 2000"/>
              <a:gd name="T12" fmla="*/ 1000 w 2000"/>
              <a:gd name="T13" fmla="*/ 30 h 2000"/>
              <a:gd name="T14" fmla="*/ 30 w 2000"/>
              <a:gd name="T15" fmla="*/ 1000 h 2000"/>
              <a:gd name="T16" fmla="*/ 1000 w 2000"/>
              <a:gd name="T17" fmla="*/ 1970 h 2000"/>
              <a:gd name="T18" fmla="*/ 1970 w 2000"/>
              <a:gd name="T19" fmla="*/ 1000 h 2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00" h="2000">
                <a:moveTo>
                  <a:pt x="1000" y="2000"/>
                </a:moveTo>
                <a:cubicBezTo>
                  <a:pt x="448" y="2000"/>
                  <a:pt x="0" y="1552"/>
                  <a:pt x="0" y="1000"/>
                </a:cubicBezTo>
                <a:cubicBezTo>
                  <a:pt x="0" y="448"/>
                  <a:pt x="448" y="0"/>
                  <a:pt x="1000" y="0"/>
                </a:cubicBezTo>
                <a:cubicBezTo>
                  <a:pt x="1552" y="0"/>
                  <a:pt x="2000" y="448"/>
                  <a:pt x="2000" y="1000"/>
                </a:cubicBezTo>
                <a:cubicBezTo>
                  <a:pt x="2000" y="1552"/>
                  <a:pt x="1552" y="2000"/>
                  <a:pt x="1000" y="2000"/>
                </a:cubicBezTo>
                <a:close/>
                <a:moveTo>
                  <a:pt x="1970" y="1000"/>
                </a:moveTo>
                <a:cubicBezTo>
                  <a:pt x="1970" y="464"/>
                  <a:pt x="1536" y="30"/>
                  <a:pt x="1000" y="30"/>
                </a:cubicBezTo>
                <a:cubicBezTo>
                  <a:pt x="464" y="30"/>
                  <a:pt x="30" y="464"/>
                  <a:pt x="30" y="1000"/>
                </a:cubicBezTo>
                <a:cubicBezTo>
                  <a:pt x="30" y="1536"/>
                  <a:pt x="464" y="1970"/>
                  <a:pt x="1000" y="1970"/>
                </a:cubicBezTo>
                <a:cubicBezTo>
                  <a:pt x="1536" y="1970"/>
                  <a:pt x="1970" y="1536"/>
                  <a:pt x="1970" y="1000"/>
                </a:cubicBezTo>
                <a:close/>
              </a:path>
            </a:pathLst>
          </a:cu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303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49384379-F2D1-4F83-8127-E81176310007}"/>
              </a:ext>
            </a:extLst>
          </p:cNvPr>
          <p:cNvSpPr/>
          <p:nvPr userDrawn="1"/>
        </p:nvSpPr>
        <p:spPr bwMode="ltGray">
          <a:xfrm>
            <a:off x="2234638" y="0"/>
            <a:ext cx="7696200" cy="6858000"/>
          </a:xfrm>
          <a:custGeom>
            <a:avLst/>
            <a:gdLst>
              <a:gd name="connsiteX0" fmla="*/ 5333647 w 7696200"/>
              <a:gd name="connsiteY0" fmla="*/ 0 h 6858000"/>
              <a:gd name="connsiteX1" fmla="*/ 5593798 w 7696200"/>
              <a:gd name="connsiteY1" fmla="*/ 0 h 6858000"/>
              <a:gd name="connsiteX2" fmla="*/ 5682333 w 7696200"/>
              <a:gd name="connsiteY2" fmla="*/ 45345 h 6858000"/>
              <a:gd name="connsiteX3" fmla="*/ 7696200 w 7696200"/>
              <a:gd name="connsiteY3" fmla="*/ 3429000 h 6858000"/>
              <a:gd name="connsiteX4" fmla="*/ 5682333 w 7696200"/>
              <a:gd name="connsiteY4" fmla="*/ 6812655 h 6858000"/>
              <a:gd name="connsiteX5" fmla="*/ 5593798 w 7696200"/>
              <a:gd name="connsiteY5" fmla="*/ 6858000 h 6858000"/>
              <a:gd name="connsiteX6" fmla="*/ 5333647 w 7696200"/>
              <a:gd name="connsiteY6" fmla="*/ 6858000 h 6858000"/>
              <a:gd name="connsiteX7" fmla="*/ 5468109 w 7696200"/>
              <a:gd name="connsiteY7" fmla="*/ 6797211 h 6858000"/>
              <a:gd name="connsiteX8" fmla="*/ 7584789 w 7696200"/>
              <a:gd name="connsiteY8" fmla="*/ 3429000 h 6858000"/>
              <a:gd name="connsiteX9" fmla="*/ 5468109 w 7696200"/>
              <a:gd name="connsiteY9" fmla="*/ 60789 h 6858000"/>
              <a:gd name="connsiteX10" fmla="*/ 2102402 w 7696200"/>
              <a:gd name="connsiteY10" fmla="*/ 0 h 6858000"/>
              <a:gd name="connsiteX11" fmla="*/ 2362554 w 7696200"/>
              <a:gd name="connsiteY11" fmla="*/ 0 h 6858000"/>
              <a:gd name="connsiteX12" fmla="*/ 2228091 w 7696200"/>
              <a:gd name="connsiteY12" fmla="*/ 60789 h 6858000"/>
              <a:gd name="connsiteX13" fmla="*/ 111411 w 7696200"/>
              <a:gd name="connsiteY13" fmla="*/ 3429000 h 6858000"/>
              <a:gd name="connsiteX14" fmla="*/ 2228091 w 7696200"/>
              <a:gd name="connsiteY14" fmla="*/ 6797211 h 6858000"/>
              <a:gd name="connsiteX15" fmla="*/ 2362554 w 7696200"/>
              <a:gd name="connsiteY15" fmla="*/ 6858000 h 6858000"/>
              <a:gd name="connsiteX16" fmla="*/ 2102402 w 7696200"/>
              <a:gd name="connsiteY16" fmla="*/ 6858000 h 6858000"/>
              <a:gd name="connsiteX17" fmla="*/ 2013867 w 7696200"/>
              <a:gd name="connsiteY17" fmla="*/ 6812655 h 6858000"/>
              <a:gd name="connsiteX18" fmla="*/ 0 w 7696200"/>
              <a:gd name="connsiteY18" fmla="*/ 3429000 h 6858000"/>
              <a:gd name="connsiteX19" fmla="*/ 2013867 w 7696200"/>
              <a:gd name="connsiteY19" fmla="*/ 4534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7696200" h="6858000">
                <a:moveTo>
                  <a:pt x="5333647" y="0"/>
                </a:moveTo>
                <a:lnTo>
                  <a:pt x="5593798" y="0"/>
                </a:lnTo>
                <a:lnTo>
                  <a:pt x="5682333" y="45345"/>
                </a:lnTo>
                <a:cubicBezTo>
                  <a:pt x="6881883" y="696980"/>
                  <a:pt x="7696200" y="1967893"/>
                  <a:pt x="7696200" y="3429000"/>
                </a:cubicBezTo>
                <a:cubicBezTo>
                  <a:pt x="7696200" y="4890108"/>
                  <a:pt x="6881883" y="6161021"/>
                  <a:pt x="5682333" y="6812655"/>
                </a:cubicBezTo>
                <a:lnTo>
                  <a:pt x="5593798" y="6858000"/>
                </a:lnTo>
                <a:lnTo>
                  <a:pt x="5333647" y="6858000"/>
                </a:lnTo>
                <a:lnTo>
                  <a:pt x="5468109" y="6797211"/>
                </a:lnTo>
                <a:cubicBezTo>
                  <a:pt x="6720529" y="6193734"/>
                  <a:pt x="7584789" y="4912296"/>
                  <a:pt x="7584789" y="3429000"/>
                </a:cubicBezTo>
                <a:cubicBezTo>
                  <a:pt x="7584789" y="1945704"/>
                  <a:pt x="6720529" y="664267"/>
                  <a:pt x="5468109" y="60789"/>
                </a:cubicBezTo>
                <a:close/>
                <a:moveTo>
                  <a:pt x="2102402" y="0"/>
                </a:moveTo>
                <a:lnTo>
                  <a:pt x="2362554" y="0"/>
                </a:lnTo>
                <a:lnTo>
                  <a:pt x="2228091" y="60789"/>
                </a:lnTo>
                <a:cubicBezTo>
                  <a:pt x="975672" y="664267"/>
                  <a:pt x="111411" y="1945704"/>
                  <a:pt x="111411" y="3429000"/>
                </a:cubicBezTo>
                <a:cubicBezTo>
                  <a:pt x="111411" y="4912296"/>
                  <a:pt x="975672" y="6193734"/>
                  <a:pt x="2228091" y="6797211"/>
                </a:cubicBezTo>
                <a:lnTo>
                  <a:pt x="2362554" y="6858000"/>
                </a:lnTo>
                <a:lnTo>
                  <a:pt x="2102402" y="6858000"/>
                </a:lnTo>
                <a:lnTo>
                  <a:pt x="2013867" y="6812655"/>
                </a:lnTo>
                <a:cubicBezTo>
                  <a:pt x="814318" y="6161021"/>
                  <a:pt x="0" y="4890108"/>
                  <a:pt x="0" y="3429000"/>
                </a:cubicBezTo>
                <a:cubicBezTo>
                  <a:pt x="0" y="1967893"/>
                  <a:pt x="814318" y="696980"/>
                  <a:pt x="2013867" y="45345"/>
                </a:cubicBezTo>
                <a:close/>
              </a:path>
            </a:pathLst>
          </a:cu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B9D677F4-4749-47B1-8AFA-DFA6D872EF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93257" y="2004515"/>
            <a:ext cx="7605486" cy="284897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152396" indent="-152396" algn="ctr" defTabSz="914377" rtl="0" eaLnBrk="0" fontAlgn="base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SzPct val="100000"/>
              <a:buNone/>
              <a:defRPr lang="en-US" sz="6000" b="0" i="0" kern="1200" baseline="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  <a:sym typeface="Proxima Nova" charset="0"/>
              </a:defRPr>
            </a:lvl1pPr>
            <a:lvl2pPr marL="171445" marR="0" indent="0" algn="l" defTabSz="914377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Placehold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98999B2-34CF-4DB9-B02E-1035B52AFB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087" y="6052595"/>
            <a:ext cx="955343" cy="54707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On-Screen Only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ltGray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54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B1B188-AAC6-4913-905A-771D19AFFC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2044" y="463360"/>
            <a:ext cx="1311584" cy="75107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lid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Place Text Here.</a:t>
            </a:r>
          </a:p>
        </p:txBody>
      </p:sp>
    </p:spTree>
    <p:extLst>
      <p:ext uri="{BB962C8B-B14F-4D97-AF65-F5344CB8AC3E}">
        <p14:creationId xmlns:p14="http://schemas.microsoft.com/office/powerpoint/2010/main" val="357008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Layout (Gradient)">
    <p:bg>
      <p:bgPr>
        <a:gradFill>
          <a:gsLst>
            <a:gs pos="1000">
              <a:srgbClr val="00B3F4"/>
            </a:gs>
            <a:gs pos="99000">
              <a:srgbClr val="002F87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“Quote goes here.”</a:t>
            </a:r>
          </a:p>
        </p:txBody>
      </p:sp>
      <p:sp>
        <p:nvSpPr>
          <p:cNvPr id="6" name="Content Placeholder 13">
            <a:extLst>
              <a:ext uri="{FF2B5EF4-FFF2-40B4-BE49-F238E27FC236}">
                <a16:creationId xmlns:a16="http://schemas.microsoft.com/office/drawing/2014/main" id="{58DDA3F2-7540-4F50-B1DB-F944373479D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93776" y="4626220"/>
            <a:ext cx="11193399" cy="228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2800" b="1" i="0" kern="1200" cap="all" baseline="0" dirty="0">
                <a:solidFill>
                  <a:srgbClr val="FFFFFF"/>
                </a:solidFill>
                <a:latin typeface="+mj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Attribution goes here</a:t>
            </a:r>
          </a:p>
        </p:txBody>
      </p:sp>
      <p:sp>
        <p:nvSpPr>
          <p:cNvPr id="7" name="Content Placeholder 13">
            <a:extLst>
              <a:ext uri="{FF2B5EF4-FFF2-40B4-BE49-F238E27FC236}">
                <a16:creationId xmlns:a16="http://schemas.microsoft.com/office/drawing/2014/main" id="{1C39F708-90E7-4A10-B891-80D87750B984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93776" y="5023337"/>
            <a:ext cx="11193399" cy="228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2800" b="0" i="0" kern="1200" baseline="0" dirty="0" smtClean="0">
                <a:solidFill>
                  <a:srgbClr val="FFFFFF"/>
                </a:solidFill>
                <a:latin typeface="+mn-lt"/>
                <a:ea typeface="+mn-ea"/>
                <a:cs typeface="Proxima Nova" panose="02000506030000020004" pitchFamily="50" charset="0"/>
                <a:sym typeface="Proxima Nova" charset="0"/>
              </a:defRPr>
            </a:lvl1pPr>
          </a:lstStyle>
          <a:p>
            <a:pPr marL="0" lvl="0" indent="0">
              <a:buNone/>
            </a:pPr>
            <a:r>
              <a:rPr lang="en-US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646459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E0C78B2-438B-455B-BA20-60BCEC3397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97060" y="2187540"/>
            <a:ext cx="4160520" cy="2381977"/>
          </a:xfrm>
          <a:prstGeom prst="rect">
            <a:avLst/>
          </a:prstGeom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AF9195B-6ED2-49AC-9218-522143C81B76}"/>
              </a:ext>
            </a:extLst>
          </p:cNvPr>
          <p:cNvSpPr/>
          <p:nvPr userDrawn="1"/>
        </p:nvSpPr>
        <p:spPr bwMode="ltGray">
          <a:xfrm>
            <a:off x="1368552" y="0"/>
            <a:ext cx="9454896" cy="6858000"/>
          </a:xfrm>
          <a:custGeom>
            <a:avLst/>
            <a:gdLst>
              <a:gd name="connsiteX0" fmla="*/ 1475039 w 9454896"/>
              <a:gd name="connsiteY0" fmla="*/ 0 h 6858000"/>
              <a:gd name="connsiteX1" fmla="*/ 7979857 w 9454896"/>
              <a:gd name="connsiteY1" fmla="*/ 0 h 6858000"/>
              <a:gd name="connsiteX2" fmla="*/ 8070258 w 9454896"/>
              <a:gd name="connsiteY2" fmla="*/ 86190 h 6858000"/>
              <a:gd name="connsiteX3" fmla="*/ 9454896 w 9454896"/>
              <a:gd name="connsiteY3" fmla="*/ 3429000 h 6858000"/>
              <a:gd name="connsiteX4" fmla="*/ 8070258 w 9454896"/>
              <a:gd name="connsiteY4" fmla="*/ 6771811 h 6858000"/>
              <a:gd name="connsiteX5" fmla="*/ 7979857 w 9454896"/>
              <a:gd name="connsiteY5" fmla="*/ 6858000 h 6858000"/>
              <a:gd name="connsiteX6" fmla="*/ 1475039 w 9454896"/>
              <a:gd name="connsiteY6" fmla="*/ 6858000 h 6858000"/>
              <a:gd name="connsiteX7" fmla="*/ 1384638 w 9454896"/>
              <a:gd name="connsiteY7" fmla="*/ 6771811 h 6858000"/>
              <a:gd name="connsiteX8" fmla="*/ 0 w 9454896"/>
              <a:gd name="connsiteY8" fmla="*/ 3429000 h 6858000"/>
              <a:gd name="connsiteX9" fmla="*/ 1384638 w 9454896"/>
              <a:gd name="connsiteY9" fmla="*/ 86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454896" h="6858000">
                <a:moveTo>
                  <a:pt x="1475039" y="0"/>
                </a:moveTo>
                <a:lnTo>
                  <a:pt x="7979857" y="0"/>
                </a:lnTo>
                <a:lnTo>
                  <a:pt x="8070258" y="86190"/>
                </a:lnTo>
                <a:cubicBezTo>
                  <a:pt x="8925758" y="941690"/>
                  <a:pt x="9454896" y="2123552"/>
                  <a:pt x="9454896" y="3429000"/>
                </a:cubicBezTo>
                <a:cubicBezTo>
                  <a:pt x="9454896" y="4734449"/>
                  <a:pt x="8925758" y="5916311"/>
                  <a:pt x="8070258" y="6771811"/>
                </a:cubicBezTo>
                <a:lnTo>
                  <a:pt x="7979857" y="6858000"/>
                </a:lnTo>
                <a:lnTo>
                  <a:pt x="1475039" y="6858000"/>
                </a:lnTo>
                <a:lnTo>
                  <a:pt x="1384638" y="6771811"/>
                </a:lnTo>
                <a:cubicBezTo>
                  <a:pt x="529138" y="5916311"/>
                  <a:pt x="0" y="4734449"/>
                  <a:pt x="0" y="3429000"/>
                </a:cubicBezTo>
                <a:cubicBezTo>
                  <a:pt x="0" y="2123552"/>
                  <a:pt x="529138" y="941690"/>
                  <a:pt x="1384638" y="86190"/>
                </a:cubicBezTo>
                <a:close/>
              </a:path>
            </a:pathLst>
          </a:cu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82880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kern="0" cap="none" spc="0" normalizeH="0" baseline="0" noProof="0" err="1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Proxima Nova" panose="02000506030000020004" pitchFamily="50" charset="0"/>
              <a:ea typeface="Proxima Nova Light" charset="0"/>
              <a:cs typeface="Proxima Nova Light" charset="0"/>
              <a:sym typeface="Proxima Nova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93165DD-DEC2-43E4-B4D3-4DEA4ADBF7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15740" y="2339940"/>
            <a:ext cx="4160520" cy="238197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">
    <p:bg>
      <p:bgPr>
        <a:solidFill>
          <a:srgbClr val="FC93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D05C3-B4E4-435F-A620-EDB17198F734}"/>
              </a:ext>
            </a:extLst>
          </p:cNvPr>
          <p:cNvSpPr txBox="1">
            <a:spLocks/>
          </p:cNvSpPr>
          <p:nvPr userDrawn="1"/>
        </p:nvSpPr>
        <p:spPr>
          <a:xfrm>
            <a:off x="838200" y="2587724"/>
            <a:ext cx="10515600" cy="1716419"/>
          </a:xfrm>
          <a:prstGeom prst="rect">
            <a:avLst/>
          </a:prstGeom>
        </p:spPr>
        <p:txBody>
          <a:bodyPr vert="horz" lIns="0" tIns="121920" rIns="0" bIns="0" rtlCol="0" anchor="ctr">
            <a:noAutofit/>
          </a:bodyPr>
          <a:lstStyle>
            <a:lvl1pPr algn="ctr" defTabSz="685800" rtl="0" eaLnBrk="0" fontAlgn="base" hangingPunct="0">
              <a:lnSpc>
                <a:spcPct val="68000"/>
              </a:lnSpc>
              <a:spcBef>
                <a:spcPct val="0"/>
              </a:spcBef>
              <a:spcAft>
                <a:spcPct val="0"/>
              </a:spcAft>
              <a:defRPr kumimoji="0" lang="en-US" sz="32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1714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3429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5143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6858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4267"/>
              <a:t>any masters that appear after this warning are </a:t>
            </a:r>
            <a:r>
              <a:rPr lang="en-US" sz="4267">
                <a:solidFill>
                  <a:srgbClr val="CD0000"/>
                </a:solidFill>
              </a:rPr>
              <a:t>rogue layouts </a:t>
            </a:r>
            <a:br>
              <a:rPr lang="en-US" sz="4267">
                <a:solidFill>
                  <a:srgbClr val="F9451B"/>
                </a:solidFill>
              </a:rPr>
            </a:br>
            <a:r>
              <a:rPr lang="en-US" sz="4267"/>
              <a:t>and should be deleted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525B98F-982E-4377-912F-012B18901CDD}"/>
              </a:ext>
            </a:extLst>
          </p:cNvPr>
          <p:cNvSpPr>
            <a:spLocks/>
          </p:cNvSpPr>
          <p:nvPr userDrawn="1"/>
        </p:nvSpPr>
        <p:spPr bwMode="invGray">
          <a:xfrm rot="10800000">
            <a:off x="5815727" y="4750775"/>
            <a:ext cx="558432" cy="411210"/>
          </a:xfrm>
          <a:custGeom>
            <a:avLst/>
            <a:gdLst>
              <a:gd name="T0" fmla="*/ 14 w 237"/>
              <a:gd name="T1" fmla="*/ 195 h 197"/>
              <a:gd name="T2" fmla="*/ 8 w 237"/>
              <a:gd name="T3" fmla="*/ 194 h 197"/>
              <a:gd name="T4" fmla="*/ 3 w 237"/>
              <a:gd name="T5" fmla="*/ 177 h 197"/>
              <a:gd name="T6" fmla="*/ 99 w 237"/>
              <a:gd name="T7" fmla="*/ 12 h 197"/>
              <a:gd name="T8" fmla="*/ 119 w 237"/>
              <a:gd name="T9" fmla="*/ 0 h 197"/>
              <a:gd name="T10" fmla="*/ 138 w 237"/>
              <a:gd name="T11" fmla="*/ 12 h 197"/>
              <a:gd name="T12" fmla="*/ 234 w 237"/>
              <a:gd name="T13" fmla="*/ 177 h 197"/>
              <a:gd name="T14" fmla="*/ 230 w 237"/>
              <a:gd name="T15" fmla="*/ 194 h 197"/>
              <a:gd name="T16" fmla="*/ 213 w 237"/>
              <a:gd name="T17" fmla="*/ 189 h 197"/>
              <a:gd name="T18" fmla="*/ 119 w 237"/>
              <a:gd name="T19" fmla="*/ 26 h 197"/>
              <a:gd name="T20" fmla="*/ 24 w 237"/>
              <a:gd name="T21" fmla="*/ 189 h 197"/>
              <a:gd name="T22" fmla="*/ 14 w 237"/>
              <a:gd name="T23" fmla="*/ 19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7" h="197">
                <a:moveTo>
                  <a:pt x="14" y="195"/>
                </a:moveTo>
                <a:cubicBezTo>
                  <a:pt x="12" y="195"/>
                  <a:pt x="10" y="195"/>
                  <a:pt x="8" y="194"/>
                </a:cubicBezTo>
                <a:cubicBezTo>
                  <a:pt x="2" y="191"/>
                  <a:pt x="0" y="183"/>
                  <a:pt x="3" y="177"/>
                </a:cubicBezTo>
                <a:cubicBezTo>
                  <a:pt x="99" y="12"/>
                  <a:pt x="99" y="12"/>
                  <a:pt x="99" y="12"/>
                </a:cubicBezTo>
                <a:cubicBezTo>
                  <a:pt x="103" y="4"/>
                  <a:pt x="111" y="0"/>
                  <a:pt x="119" y="0"/>
                </a:cubicBezTo>
                <a:cubicBezTo>
                  <a:pt x="127" y="0"/>
                  <a:pt x="134" y="4"/>
                  <a:pt x="138" y="12"/>
                </a:cubicBezTo>
                <a:cubicBezTo>
                  <a:pt x="234" y="177"/>
                  <a:pt x="234" y="177"/>
                  <a:pt x="234" y="177"/>
                </a:cubicBezTo>
                <a:cubicBezTo>
                  <a:pt x="237" y="183"/>
                  <a:pt x="235" y="191"/>
                  <a:pt x="230" y="194"/>
                </a:cubicBezTo>
                <a:cubicBezTo>
                  <a:pt x="224" y="197"/>
                  <a:pt x="217" y="195"/>
                  <a:pt x="213" y="189"/>
                </a:cubicBezTo>
                <a:cubicBezTo>
                  <a:pt x="119" y="26"/>
                  <a:pt x="119" y="26"/>
                  <a:pt x="119" y="26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22" y="193"/>
                  <a:pt x="18" y="195"/>
                  <a:pt x="14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BD83303-64DB-4155-A239-5D0D737F0B38}"/>
              </a:ext>
            </a:extLst>
          </p:cNvPr>
          <p:cNvGrpSpPr/>
          <p:nvPr userDrawn="1"/>
        </p:nvGrpSpPr>
        <p:grpSpPr>
          <a:xfrm>
            <a:off x="5655735" y="1357760"/>
            <a:ext cx="880533" cy="783331"/>
            <a:chOff x="5046133" y="896938"/>
            <a:chExt cx="733425" cy="652463"/>
          </a:xfrm>
          <a:solidFill>
            <a:srgbClr val="FFFFFF"/>
          </a:solidFill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109598A-4181-46AD-B31A-AE565CFA82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046133" y="896938"/>
              <a:ext cx="733425" cy="652463"/>
            </a:xfrm>
            <a:custGeom>
              <a:avLst/>
              <a:gdLst>
                <a:gd name="T0" fmla="*/ 187 w 374"/>
                <a:gd name="T1" fmla="*/ 24 h 332"/>
                <a:gd name="T2" fmla="*/ 201 w 374"/>
                <a:gd name="T3" fmla="*/ 32 h 332"/>
                <a:gd name="T4" fmla="*/ 346 w 374"/>
                <a:gd name="T5" fmla="*/ 284 h 332"/>
                <a:gd name="T6" fmla="*/ 332 w 374"/>
                <a:gd name="T7" fmla="*/ 308 h 332"/>
                <a:gd name="T8" fmla="*/ 42 w 374"/>
                <a:gd name="T9" fmla="*/ 308 h 332"/>
                <a:gd name="T10" fmla="*/ 28 w 374"/>
                <a:gd name="T11" fmla="*/ 284 h 332"/>
                <a:gd name="T12" fmla="*/ 173 w 374"/>
                <a:gd name="T13" fmla="*/ 32 h 332"/>
                <a:gd name="T14" fmla="*/ 187 w 374"/>
                <a:gd name="T15" fmla="*/ 24 h 332"/>
                <a:gd name="T16" fmla="*/ 187 w 374"/>
                <a:gd name="T17" fmla="*/ 0 h 332"/>
                <a:gd name="T18" fmla="*/ 152 w 374"/>
                <a:gd name="T19" fmla="*/ 20 h 332"/>
                <a:gd name="T20" fmla="*/ 7 w 374"/>
                <a:gd name="T21" fmla="*/ 272 h 332"/>
                <a:gd name="T22" fmla="*/ 7 w 374"/>
                <a:gd name="T23" fmla="*/ 312 h 332"/>
                <a:gd name="T24" fmla="*/ 42 w 374"/>
                <a:gd name="T25" fmla="*/ 332 h 332"/>
                <a:gd name="T26" fmla="*/ 332 w 374"/>
                <a:gd name="T27" fmla="*/ 332 h 332"/>
                <a:gd name="T28" fmla="*/ 367 w 374"/>
                <a:gd name="T29" fmla="*/ 312 h 332"/>
                <a:gd name="T30" fmla="*/ 367 w 374"/>
                <a:gd name="T31" fmla="*/ 272 h 332"/>
                <a:gd name="T32" fmla="*/ 222 w 374"/>
                <a:gd name="T33" fmla="*/ 20 h 332"/>
                <a:gd name="T34" fmla="*/ 187 w 374"/>
                <a:gd name="T3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" h="332">
                  <a:moveTo>
                    <a:pt x="187" y="24"/>
                  </a:moveTo>
                  <a:cubicBezTo>
                    <a:pt x="192" y="24"/>
                    <a:pt x="198" y="27"/>
                    <a:pt x="201" y="32"/>
                  </a:cubicBezTo>
                  <a:cubicBezTo>
                    <a:pt x="346" y="284"/>
                    <a:pt x="346" y="284"/>
                    <a:pt x="346" y="284"/>
                  </a:cubicBezTo>
                  <a:cubicBezTo>
                    <a:pt x="352" y="294"/>
                    <a:pt x="344" y="308"/>
                    <a:pt x="332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29" y="308"/>
                    <a:pt x="21" y="294"/>
                    <a:pt x="28" y="284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6" y="27"/>
                    <a:pt x="181" y="24"/>
                    <a:pt x="187" y="24"/>
                  </a:cubicBezTo>
                  <a:moveTo>
                    <a:pt x="187" y="0"/>
                  </a:moveTo>
                  <a:cubicBezTo>
                    <a:pt x="172" y="0"/>
                    <a:pt x="159" y="8"/>
                    <a:pt x="152" y="20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0" y="284"/>
                    <a:pt x="0" y="299"/>
                    <a:pt x="7" y="312"/>
                  </a:cubicBezTo>
                  <a:cubicBezTo>
                    <a:pt x="14" y="324"/>
                    <a:pt x="27" y="332"/>
                    <a:pt x="42" y="332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46" y="332"/>
                    <a:pt x="359" y="324"/>
                    <a:pt x="367" y="312"/>
                  </a:cubicBezTo>
                  <a:cubicBezTo>
                    <a:pt x="374" y="299"/>
                    <a:pt x="374" y="284"/>
                    <a:pt x="367" y="272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14" y="8"/>
                    <a:pt x="201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E0C7EED-60F5-4F6C-91A7-D4CFB8BCAE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81096" y="1139826"/>
              <a:ext cx="61913" cy="261938"/>
            </a:xfrm>
            <a:custGeom>
              <a:avLst/>
              <a:gdLst>
                <a:gd name="T0" fmla="*/ 16 w 32"/>
                <a:gd name="T1" fmla="*/ 101 h 133"/>
                <a:gd name="T2" fmla="*/ 32 w 32"/>
                <a:gd name="T3" fmla="*/ 117 h 133"/>
                <a:gd name="T4" fmla="*/ 16 w 32"/>
                <a:gd name="T5" fmla="*/ 133 h 133"/>
                <a:gd name="T6" fmla="*/ 0 w 32"/>
                <a:gd name="T7" fmla="*/ 117 h 133"/>
                <a:gd name="T8" fmla="*/ 16 w 32"/>
                <a:gd name="T9" fmla="*/ 101 h 133"/>
                <a:gd name="T10" fmla="*/ 1 w 32"/>
                <a:gd name="T11" fmla="*/ 0 h 133"/>
                <a:gd name="T12" fmla="*/ 31 w 32"/>
                <a:gd name="T13" fmla="*/ 0 h 133"/>
                <a:gd name="T14" fmla="*/ 27 w 32"/>
                <a:gd name="T15" fmla="*/ 88 h 133"/>
                <a:gd name="T16" fmla="*/ 5 w 32"/>
                <a:gd name="T17" fmla="*/ 88 h 133"/>
                <a:gd name="T18" fmla="*/ 1 w 32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33">
                  <a:moveTo>
                    <a:pt x="16" y="101"/>
                  </a:moveTo>
                  <a:cubicBezTo>
                    <a:pt x="24" y="101"/>
                    <a:pt x="32" y="108"/>
                    <a:pt x="32" y="117"/>
                  </a:cubicBezTo>
                  <a:cubicBezTo>
                    <a:pt x="32" y="125"/>
                    <a:pt x="24" y="133"/>
                    <a:pt x="16" y="133"/>
                  </a:cubicBezTo>
                  <a:cubicBezTo>
                    <a:pt x="7" y="133"/>
                    <a:pt x="0" y="125"/>
                    <a:pt x="0" y="117"/>
                  </a:cubicBezTo>
                  <a:cubicBezTo>
                    <a:pt x="0" y="108"/>
                    <a:pt x="7" y="101"/>
                    <a:pt x="16" y="101"/>
                  </a:cubicBezTo>
                  <a:close/>
                  <a:moveTo>
                    <a:pt x="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5" y="88"/>
                    <a:pt x="5" y="88"/>
                    <a:pt x="5" y="8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453273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1702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hoto (Multi Layou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Text Placeholder 41"/>
          <p:cNvSpPr>
            <a:spLocks noGrp="1"/>
          </p:cNvSpPr>
          <p:nvPr>
            <p:ph type="body" sz="quarter" idx="16"/>
          </p:nvPr>
        </p:nvSpPr>
        <p:spPr>
          <a:xfrm>
            <a:off x="5079400" y="3383327"/>
            <a:ext cx="2377776" cy="54047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>
              <a:defRPr sz="2400">
                <a:latin typeface="+mn-lt"/>
                <a:ea typeface="+mn-ea"/>
                <a:cs typeface="+mn-cs"/>
                <a:sym typeface="Helvetica"/>
              </a:defRPr>
            </a:pPr>
            <a:endParaRPr/>
          </a:p>
        </p:txBody>
      </p:sp>
      <p:sp>
        <p:nvSpPr>
          <p:cNvPr id="180" name="Text Placeholder 41"/>
          <p:cNvSpPr>
            <a:spLocks noGrp="1"/>
          </p:cNvSpPr>
          <p:nvPr>
            <p:ph type="body" sz="quarter" idx="17"/>
          </p:nvPr>
        </p:nvSpPr>
        <p:spPr>
          <a:xfrm>
            <a:off x="8906581" y="3382585"/>
            <a:ext cx="2377776" cy="54047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>
              <a:defRPr sz="2400">
                <a:latin typeface="+mn-lt"/>
                <a:ea typeface="+mn-ea"/>
                <a:cs typeface="+mn-cs"/>
                <a:sym typeface="Helvetica"/>
              </a:defRPr>
            </a:pPr>
            <a:endParaRPr/>
          </a:p>
        </p:txBody>
      </p:sp>
      <p:sp>
        <p:nvSpPr>
          <p:cNvPr id="181" name="Title Text"/>
          <p:cNvSpPr txBox="1">
            <a:spLocks noGrp="1"/>
          </p:cNvSpPr>
          <p:nvPr>
            <p:ph type="title"/>
          </p:nvPr>
        </p:nvSpPr>
        <p:spPr>
          <a:xfrm>
            <a:off x="493776" y="167676"/>
            <a:ext cx="11204448" cy="897971"/>
          </a:xfrm>
          <a:prstGeom prst="rect">
            <a:avLst/>
          </a:prstGeom>
        </p:spPr>
        <p:txBody>
          <a:bodyPr/>
          <a:lstStyle>
            <a:lvl1pPr algn="l">
              <a:lnSpc>
                <a:spcPct val="120000"/>
              </a:lnSpc>
              <a:defRPr sz="4400">
                <a:solidFill>
                  <a:srgbClr val="113E76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itle Text</a:t>
            </a:r>
          </a:p>
        </p:txBody>
      </p:sp>
      <p:sp>
        <p:nvSpPr>
          <p:cNvPr id="14" name="Text Placeholder 41">
            <a:extLst>
              <a:ext uri="{FF2B5EF4-FFF2-40B4-BE49-F238E27FC236}">
                <a16:creationId xmlns:a16="http://schemas.microsoft.com/office/drawing/2014/main" id="{680D7C57-1551-433C-9413-3BF8017BFE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52219" y="3383327"/>
            <a:ext cx="2377776" cy="54047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>
              <a:defRPr sz="2400">
                <a:latin typeface="+mn-lt"/>
                <a:ea typeface="+mn-ea"/>
                <a:cs typeface="+mn-cs"/>
                <a:sym typeface="Helvetica"/>
              </a:defRPr>
            </a:pPr>
            <a:endParaRPr/>
          </a:p>
        </p:txBody>
      </p:sp>
      <p:sp>
        <p:nvSpPr>
          <p:cNvPr id="19" name="Text Placeholder 41">
            <a:extLst>
              <a:ext uri="{FF2B5EF4-FFF2-40B4-BE49-F238E27FC236}">
                <a16:creationId xmlns:a16="http://schemas.microsoft.com/office/drawing/2014/main" id="{514314A2-1751-4B0D-9F02-CB44DA2712B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990936" y="6160128"/>
            <a:ext cx="2377776" cy="54047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>
              <a:defRPr sz="2400">
                <a:latin typeface="+mn-lt"/>
                <a:ea typeface="+mn-ea"/>
                <a:cs typeface="+mn-cs"/>
                <a:sym typeface="Helvetica"/>
              </a:defRPr>
            </a:pPr>
            <a:endParaRPr/>
          </a:p>
        </p:txBody>
      </p:sp>
      <p:sp>
        <p:nvSpPr>
          <p:cNvPr id="20" name="Text Placeholder 41">
            <a:extLst>
              <a:ext uri="{FF2B5EF4-FFF2-40B4-BE49-F238E27FC236}">
                <a16:creationId xmlns:a16="http://schemas.microsoft.com/office/drawing/2014/main" id="{E1B4419C-40E5-4F74-8B61-6AEE5756175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38355" y="6160128"/>
            <a:ext cx="2377776" cy="54047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>
              <a:defRPr sz="2400">
                <a:latin typeface="+mn-lt"/>
                <a:ea typeface="+mn-ea"/>
                <a:cs typeface="+mn-cs"/>
                <a:sym typeface="Helvetica"/>
              </a:defRPr>
            </a:pPr>
            <a:endParaRPr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FEB1320-9493-44AF-93A6-B14C52E7C9AE}"/>
              </a:ext>
            </a:extLst>
          </p:cNvPr>
          <p:cNvSpPr/>
          <p:nvPr userDrawn="1"/>
        </p:nvSpPr>
        <p:spPr bwMode="ltGray">
          <a:xfrm>
            <a:off x="1367150" y="1137949"/>
            <a:ext cx="2167594" cy="2167594"/>
          </a:xfrm>
          <a:prstGeom prst="ellipse">
            <a:avLst/>
          </a:pr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82880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Proxima Nova" panose="02000506030000020004" pitchFamily="50" charset="0"/>
              <a:ea typeface="Proxima Nova Light" charset="0"/>
              <a:cs typeface="Proxima Nova Light" charset="0"/>
              <a:sym typeface="Proxima Nova Light" charset="0"/>
            </a:endParaRPr>
          </a:p>
        </p:txBody>
      </p:sp>
      <p:sp>
        <p:nvSpPr>
          <p:cNvPr id="22" name="Picture Placeholder 35">
            <a:extLst>
              <a:ext uri="{FF2B5EF4-FFF2-40B4-BE49-F238E27FC236}">
                <a16:creationId xmlns:a16="http://schemas.microsoft.com/office/drawing/2014/main" id="{10B0D65B-4353-4821-8DF2-415BDAB7B15B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1442466" y="1212694"/>
            <a:ext cx="2016962" cy="2018105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BD3035A8-192C-458C-B30A-373699C69D4C}"/>
              </a:ext>
            </a:extLst>
          </p:cNvPr>
          <p:cNvSpPr/>
          <p:nvPr userDrawn="1"/>
        </p:nvSpPr>
        <p:spPr bwMode="ltGray">
          <a:xfrm>
            <a:off x="3256614" y="3923805"/>
            <a:ext cx="2167594" cy="2167594"/>
          </a:xfrm>
          <a:prstGeom prst="ellipse">
            <a:avLst/>
          </a:pr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82880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Proxima Nova" panose="02000506030000020004" pitchFamily="50" charset="0"/>
              <a:ea typeface="Proxima Nova Light" charset="0"/>
              <a:cs typeface="Proxima Nova Light" charset="0"/>
              <a:sym typeface="Proxima Nova Light" charset="0"/>
            </a:endParaRPr>
          </a:p>
        </p:txBody>
      </p:sp>
      <p:sp>
        <p:nvSpPr>
          <p:cNvPr id="24" name="Picture Placeholder 35">
            <a:extLst>
              <a:ext uri="{FF2B5EF4-FFF2-40B4-BE49-F238E27FC236}">
                <a16:creationId xmlns:a16="http://schemas.microsoft.com/office/drawing/2014/main" id="{7A499B62-77FA-4A22-A3E9-1E402DA0EC76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3331930" y="3998550"/>
            <a:ext cx="2016962" cy="2018105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04E1945-9637-4869-B726-555344957DFF}"/>
              </a:ext>
            </a:extLst>
          </p:cNvPr>
          <p:cNvSpPr/>
          <p:nvPr userDrawn="1"/>
        </p:nvSpPr>
        <p:spPr bwMode="ltGray">
          <a:xfrm>
            <a:off x="5180936" y="1147499"/>
            <a:ext cx="2167594" cy="2167594"/>
          </a:xfrm>
          <a:prstGeom prst="ellipse">
            <a:avLst/>
          </a:pr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82880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Proxima Nova" panose="02000506030000020004" pitchFamily="50" charset="0"/>
              <a:ea typeface="Proxima Nova Light" charset="0"/>
              <a:cs typeface="Proxima Nova Light" charset="0"/>
              <a:sym typeface="Proxima Nova Light" charset="0"/>
            </a:endParaRPr>
          </a:p>
        </p:txBody>
      </p:sp>
      <p:sp>
        <p:nvSpPr>
          <p:cNvPr id="26" name="Picture Placeholder 35">
            <a:extLst>
              <a:ext uri="{FF2B5EF4-FFF2-40B4-BE49-F238E27FC236}">
                <a16:creationId xmlns:a16="http://schemas.microsoft.com/office/drawing/2014/main" id="{AC90C9DB-7C6B-46EC-946F-8FA59D8F4325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5256252" y="1222244"/>
            <a:ext cx="2016962" cy="2018105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273FE483-BEAA-425C-8DF0-C9C37A87263E}"/>
              </a:ext>
            </a:extLst>
          </p:cNvPr>
          <p:cNvSpPr/>
          <p:nvPr userDrawn="1"/>
        </p:nvSpPr>
        <p:spPr bwMode="ltGray">
          <a:xfrm>
            <a:off x="8994722" y="1146263"/>
            <a:ext cx="2167594" cy="2167594"/>
          </a:xfrm>
          <a:prstGeom prst="ellipse">
            <a:avLst/>
          </a:pr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82880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Proxima Nova" panose="02000506030000020004" pitchFamily="50" charset="0"/>
              <a:ea typeface="Proxima Nova Light" charset="0"/>
              <a:cs typeface="Proxima Nova Light" charset="0"/>
              <a:sym typeface="Proxima Nova Light" charset="0"/>
            </a:endParaRPr>
          </a:p>
        </p:txBody>
      </p:sp>
      <p:sp>
        <p:nvSpPr>
          <p:cNvPr id="28" name="Picture Placeholder 35">
            <a:extLst>
              <a:ext uri="{FF2B5EF4-FFF2-40B4-BE49-F238E27FC236}">
                <a16:creationId xmlns:a16="http://schemas.microsoft.com/office/drawing/2014/main" id="{9BC0038A-9495-4660-BC5F-8E67507B1DD6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>
          <a:xfrm>
            <a:off x="9070038" y="1221008"/>
            <a:ext cx="2016962" cy="2018105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FF665C10-D066-4DFB-B93A-C73AD9BCF29E}"/>
              </a:ext>
            </a:extLst>
          </p:cNvPr>
          <p:cNvSpPr/>
          <p:nvPr userDrawn="1"/>
        </p:nvSpPr>
        <p:spPr bwMode="ltGray">
          <a:xfrm>
            <a:off x="7107661" y="3923805"/>
            <a:ext cx="2167594" cy="2167594"/>
          </a:xfrm>
          <a:prstGeom prst="ellipse">
            <a:avLst/>
          </a:pr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82880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Proxima Nova" panose="02000506030000020004" pitchFamily="50" charset="0"/>
              <a:ea typeface="Proxima Nova Light" charset="0"/>
              <a:cs typeface="Proxima Nova Light" charset="0"/>
              <a:sym typeface="Proxima Nova Light" charset="0"/>
            </a:endParaRPr>
          </a:p>
        </p:txBody>
      </p:sp>
      <p:sp>
        <p:nvSpPr>
          <p:cNvPr id="30" name="Picture Placeholder 35">
            <a:extLst>
              <a:ext uri="{FF2B5EF4-FFF2-40B4-BE49-F238E27FC236}">
                <a16:creationId xmlns:a16="http://schemas.microsoft.com/office/drawing/2014/main" id="{17DCD30B-9FAD-4B94-AD79-964822AEE38B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82977" y="3998550"/>
            <a:ext cx="2016962" cy="2018105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FCF4FB52-89DB-4E41-8A58-832A1CDD49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3685" y="6241518"/>
            <a:ext cx="1274538" cy="359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150930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Quote Layout (Gradient)">
    <p:bg>
      <p:bgPr>
        <a:gradFill flip="none" rotWithShape="1">
          <a:gsLst>
            <a:gs pos="1000">
              <a:srgbClr val="00B3F4"/>
            </a:gs>
            <a:gs pos="99000">
              <a:schemeClr val="accent4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Body Level One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>
            <a:normAutofit/>
          </a:bodyPr>
          <a:lstStyle>
            <a:lvl1pPr marL="114300" indent="-114300" defTabSz="685800">
              <a:spcBef>
                <a:spcPts val="1300"/>
              </a:spcBef>
              <a:buSzTx/>
              <a:buFontTx/>
              <a:buNone/>
              <a:defRPr sz="44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lvl1pPr>
            <a:lvl2pPr marL="114300" indent="14287" defTabSz="685800">
              <a:spcBef>
                <a:spcPts val="1300"/>
              </a:spcBef>
              <a:buSzTx/>
              <a:buFontTx/>
              <a:buNone/>
              <a:defRPr sz="44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lvl2pPr>
            <a:lvl3pPr marL="938666" indent="-708478" defTabSz="685800">
              <a:spcBef>
                <a:spcPts val="1300"/>
              </a:spcBef>
              <a:buFontTx/>
              <a:defRPr sz="44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lvl3pPr>
            <a:lvl4pPr marL="114300" indent="-114300" defTabSz="685800">
              <a:spcBef>
                <a:spcPts val="1300"/>
              </a:spcBef>
              <a:buFontTx/>
              <a:defRPr sz="44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lvl4pPr>
            <a:lvl5pPr marL="114300" indent="-114300" defTabSz="685800">
              <a:spcBef>
                <a:spcPts val="1300"/>
              </a:spcBef>
              <a:buFontTx/>
              <a:defRPr sz="44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"/>
              </a:defRPr>
            </a:lvl5pPr>
          </a:lstStyle>
          <a:p>
            <a:r>
              <a:rPr dirty="0"/>
              <a:t>Body Level One</a:t>
            </a:r>
          </a:p>
        </p:txBody>
      </p:sp>
      <p:pic>
        <p:nvPicPr>
          <p:cNvPr id="3" name="Picture 8">
            <a:extLst>
              <a:ext uri="{FF2B5EF4-FFF2-40B4-BE49-F238E27FC236}">
                <a16:creationId xmlns:a16="http://schemas.microsoft.com/office/drawing/2014/main" id="{CF170CA9-0263-EC4D-980E-ADFDF2C04F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014279" y="6241732"/>
            <a:ext cx="1844445" cy="368889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0412356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8248" y="1600201"/>
            <a:ext cx="11084153" cy="4525963"/>
          </a:xfrm>
        </p:spPr>
        <p:txBody>
          <a:bodyPr>
            <a:normAutofit/>
          </a:bodyPr>
          <a:lstStyle>
            <a:lvl1pPr marL="302668" indent="-302668">
              <a:defRPr sz="2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759846" indent="-378865">
              <a:defRPr sz="2667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1140826" indent="-302668">
              <a:buSzPct val="90000"/>
              <a:buFont typeface="Wingdings" panose="05000000000000000000" pitchFamily="2" charset="2"/>
              <a:buChar char="§"/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120" indent="-380981"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1978985" indent="-300551"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08000" y="6375860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673599" y="6375860"/>
            <a:ext cx="2844800" cy="365125"/>
          </a:xfrm>
          <a:prstGeom prst="rect">
            <a:avLst/>
          </a:prstGeom>
        </p:spPr>
        <p:txBody>
          <a:bodyPr/>
          <a:lstStyle>
            <a:lvl1pPr algn="ctr">
              <a:defRPr sz="1067"/>
            </a:lvl1pPr>
          </a:lstStyle>
          <a:p>
            <a:fld id="{1DEE6D40-568E-4C8B-B20B-CF91AA19B8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52F3B07-E6A4-4134-95B0-43406102CD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3840"/>
            <a:ext cx="11481904" cy="49566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8344089D-87C3-483F-BF1E-FEF2C249D6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761" y="768096"/>
            <a:ext cx="11419841" cy="45720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0000"/>
              </a:lnSpc>
              <a:defRPr lang="en-US" sz="1780" b="0" cap="none" dirty="0">
                <a:solidFill>
                  <a:srgbClr val="1F497D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89890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for Printing)">
    <p:bg bwMode="ltGray">
      <p:bgPr>
        <a:gradFill>
          <a:gsLst>
            <a:gs pos="32000">
              <a:srgbClr val="009AE0"/>
            </a:gs>
            <a:gs pos="5200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4111ECC-457B-46E6-86AA-9DEDC14898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788" y="466095"/>
            <a:ext cx="1307592" cy="432858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white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612942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On-Screen Only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40A8EB5-0913-4618-A717-A3D92D5F83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0736" y="429413"/>
            <a:ext cx="1371600" cy="507492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ltGray">
          <a:xfrm>
            <a:off x="0" y="0"/>
            <a:ext cx="10037026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493776" y="2324262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white">
          <a:xfrm>
            <a:off x="512438" y="4554950"/>
            <a:ext cx="5518225" cy="754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130264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B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7" y="2151986"/>
            <a:ext cx="5536887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54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84C230F-C4FA-452D-A6C0-ABF743E70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77660" y="0"/>
            <a:ext cx="5514340" cy="6858000"/>
          </a:xfrm>
          <a:custGeom>
            <a:avLst/>
            <a:gdLst>
              <a:gd name="connsiteX0" fmla="*/ 2071778 w 5514340"/>
              <a:gd name="connsiteY0" fmla="*/ 0 h 6858000"/>
              <a:gd name="connsiteX1" fmla="*/ 5514340 w 5514340"/>
              <a:gd name="connsiteY1" fmla="*/ 0 h 6858000"/>
              <a:gd name="connsiteX2" fmla="*/ 5514340 w 5514340"/>
              <a:gd name="connsiteY2" fmla="*/ 6858000 h 6858000"/>
              <a:gd name="connsiteX3" fmla="*/ 1975488 w 5514340"/>
              <a:gd name="connsiteY3" fmla="*/ 6858000 h 6858000"/>
              <a:gd name="connsiteX4" fmla="*/ 1886350 w 5514340"/>
              <a:gd name="connsiteY4" fmla="*/ 6806747 h 6858000"/>
              <a:gd name="connsiteX5" fmla="*/ 0 w 5514340"/>
              <a:gd name="connsiteY5" fmla="*/ 3456012 h 6858000"/>
              <a:gd name="connsiteX6" fmla="*/ 2050422 w 5514340"/>
              <a:gd name="connsiteY6" fmla="*/ 1093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14340" h="6858000">
                <a:moveTo>
                  <a:pt x="2071778" y="0"/>
                </a:moveTo>
                <a:lnTo>
                  <a:pt x="5514340" y="0"/>
                </a:lnTo>
                <a:lnTo>
                  <a:pt x="5514340" y="6858000"/>
                </a:lnTo>
                <a:lnTo>
                  <a:pt x="1975488" y="6858000"/>
                </a:lnTo>
                <a:lnTo>
                  <a:pt x="1886350" y="6806747"/>
                </a:lnTo>
                <a:cubicBezTo>
                  <a:pt x="755439" y="6119589"/>
                  <a:pt x="0" y="4876022"/>
                  <a:pt x="0" y="3456012"/>
                </a:cubicBezTo>
                <a:cubicBezTo>
                  <a:pt x="0" y="1968383"/>
                  <a:pt x="829099" y="674400"/>
                  <a:pt x="2050422" y="10938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en-US"/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87464C84-9B11-4E7C-9C99-8B8EACAE6B21}"/>
              </a:ext>
            </a:extLst>
          </p:cNvPr>
          <p:cNvSpPr>
            <a:spLocks noChangeAspect="1"/>
          </p:cNvSpPr>
          <p:nvPr userDrawn="1"/>
        </p:nvSpPr>
        <p:spPr bwMode="ltGray">
          <a:xfrm>
            <a:off x="6559769" y="0"/>
            <a:ext cx="2192109" cy="6858000"/>
          </a:xfrm>
          <a:custGeom>
            <a:avLst/>
            <a:gdLst>
              <a:gd name="connsiteX0" fmla="*/ 1946802 w 2192109"/>
              <a:gd name="connsiteY0" fmla="*/ 0 h 6858000"/>
              <a:gd name="connsiteX1" fmla="*/ 2192109 w 2192109"/>
              <a:gd name="connsiteY1" fmla="*/ 0 h 6858000"/>
              <a:gd name="connsiteX2" fmla="*/ 2171997 w 2192109"/>
              <a:gd name="connsiteY2" fmla="*/ 10301 h 6858000"/>
              <a:gd name="connsiteX3" fmla="*/ 121196 w 2192109"/>
              <a:gd name="connsiteY3" fmla="*/ 3456012 h 6858000"/>
              <a:gd name="connsiteX4" fmla="*/ 2007895 w 2192109"/>
              <a:gd name="connsiteY4" fmla="*/ 6807367 h 6858000"/>
              <a:gd name="connsiteX5" fmla="*/ 2095955 w 2192109"/>
              <a:gd name="connsiteY5" fmla="*/ 6858000 h 6858000"/>
              <a:gd name="connsiteX6" fmla="*/ 1862352 w 2192109"/>
              <a:gd name="connsiteY6" fmla="*/ 6858000 h 6858000"/>
              <a:gd name="connsiteX7" fmla="*/ 1781140 w 2192109"/>
              <a:gd name="connsiteY7" fmla="*/ 6805936 h 6858000"/>
              <a:gd name="connsiteX8" fmla="*/ 0 w 2192109"/>
              <a:gd name="connsiteY8" fmla="*/ 3456012 h 6858000"/>
              <a:gd name="connsiteX9" fmla="*/ 1945050 w 2192109"/>
              <a:gd name="connsiteY9" fmla="*/ 10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92109" h="6858000">
                <a:moveTo>
                  <a:pt x="1946802" y="0"/>
                </a:moveTo>
                <a:lnTo>
                  <a:pt x="2192109" y="0"/>
                </a:lnTo>
                <a:lnTo>
                  <a:pt x="2171997" y="10301"/>
                </a:lnTo>
                <a:cubicBezTo>
                  <a:pt x="950448" y="673886"/>
                  <a:pt x="121196" y="1968108"/>
                  <a:pt x="121196" y="3456012"/>
                </a:cubicBezTo>
                <a:cubicBezTo>
                  <a:pt x="121196" y="4876284"/>
                  <a:pt x="876775" y="6120081"/>
                  <a:pt x="2007895" y="6807367"/>
                </a:cubicBezTo>
                <a:lnTo>
                  <a:pt x="2095955" y="6858000"/>
                </a:lnTo>
                <a:lnTo>
                  <a:pt x="1862352" y="6858000"/>
                </a:lnTo>
                <a:lnTo>
                  <a:pt x="1781140" y="6805936"/>
                </a:lnTo>
                <a:cubicBezTo>
                  <a:pt x="706528" y="6079942"/>
                  <a:pt x="0" y="4850487"/>
                  <a:pt x="0" y="3456012"/>
                </a:cubicBezTo>
                <a:cubicBezTo>
                  <a:pt x="0" y="1991814"/>
                  <a:pt x="778947" y="709549"/>
                  <a:pt x="1945050" y="1008"/>
                </a:cubicBezTo>
                <a:close/>
              </a:path>
            </a:pathLst>
          </a:cu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13248A8-0948-46BD-81D6-9D1715B91B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087" y="6052595"/>
            <a:ext cx="955343" cy="547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46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B (with Photo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DAA9AB1-DD0F-4DB9-A09A-120B5A6E0C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862" y="6024584"/>
            <a:ext cx="996696" cy="368778"/>
          </a:xfrm>
          <a:prstGeom prst="rect">
            <a:avLst/>
          </a:prstGeom>
        </p:spPr>
      </p:pic>
      <p:sp>
        <p:nvSpPr>
          <p:cNvPr id="6" name="Freeform 5">
            <a:extLst>
              <a:ext uri="{FF2B5EF4-FFF2-40B4-BE49-F238E27FC236}">
                <a16:creationId xmlns:a16="http://schemas.microsoft.com/office/drawing/2014/main" id="{1CAC31CE-8829-4BF7-A0EF-D09EA19BBD99}"/>
              </a:ext>
            </a:extLst>
          </p:cNvPr>
          <p:cNvSpPr>
            <a:spLocks/>
          </p:cNvSpPr>
          <p:nvPr userDrawn="1"/>
        </p:nvSpPr>
        <p:spPr bwMode="ltGray">
          <a:xfrm>
            <a:off x="6565900" y="0"/>
            <a:ext cx="5626100" cy="6859358"/>
          </a:xfrm>
          <a:custGeom>
            <a:avLst/>
            <a:gdLst>
              <a:gd name="T0" fmla="*/ 1212 w 1212"/>
              <a:gd name="T1" fmla="*/ 1011 h 1484"/>
              <a:gd name="T2" fmla="*/ 872 w 1212"/>
              <a:gd name="T3" fmla="*/ 1178 h 1484"/>
              <a:gd name="T4" fmla="*/ 442 w 1212"/>
              <a:gd name="T5" fmla="*/ 748 h 1484"/>
              <a:gd name="T6" fmla="*/ 872 w 1212"/>
              <a:gd name="T7" fmla="*/ 318 h 1484"/>
              <a:gd name="T8" fmla="*/ 1212 w 1212"/>
              <a:gd name="T9" fmla="*/ 485 h 1484"/>
              <a:gd name="T10" fmla="*/ 1212 w 1212"/>
              <a:gd name="T11" fmla="*/ 0 h 1484"/>
              <a:gd name="T12" fmla="*/ 424 w 1212"/>
              <a:gd name="T13" fmla="*/ 0 h 1484"/>
              <a:gd name="T14" fmla="*/ 0 w 1212"/>
              <a:gd name="T15" fmla="*/ 748 h 1484"/>
              <a:gd name="T16" fmla="*/ 404 w 1212"/>
              <a:gd name="T17" fmla="*/ 1484 h 1484"/>
              <a:gd name="T18" fmla="*/ 1212 w 1212"/>
              <a:gd name="T19" fmla="*/ 1484 h 1484"/>
              <a:gd name="T20" fmla="*/ 1212 w 1212"/>
              <a:gd name="T21" fmla="*/ 1011 h 1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12" h="1484">
                <a:moveTo>
                  <a:pt x="1212" y="1011"/>
                </a:moveTo>
                <a:cubicBezTo>
                  <a:pt x="1133" y="1113"/>
                  <a:pt x="1010" y="1178"/>
                  <a:pt x="872" y="1178"/>
                </a:cubicBezTo>
                <a:cubicBezTo>
                  <a:pt x="635" y="1178"/>
                  <a:pt x="442" y="985"/>
                  <a:pt x="442" y="748"/>
                </a:cubicBezTo>
                <a:cubicBezTo>
                  <a:pt x="442" y="511"/>
                  <a:pt x="635" y="318"/>
                  <a:pt x="872" y="318"/>
                </a:cubicBezTo>
                <a:cubicBezTo>
                  <a:pt x="1010" y="318"/>
                  <a:pt x="1133" y="383"/>
                  <a:pt x="1212" y="485"/>
                </a:cubicBezTo>
                <a:cubicBezTo>
                  <a:pt x="1212" y="0"/>
                  <a:pt x="1212" y="0"/>
                  <a:pt x="1212" y="0"/>
                </a:cubicBezTo>
                <a:cubicBezTo>
                  <a:pt x="424" y="0"/>
                  <a:pt x="424" y="0"/>
                  <a:pt x="424" y="0"/>
                </a:cubicBezTo>
                <a:cubicBezTo>
                  <a:pt x="170" y="152"/>
                  <a:pt x="0" y="430"/>
                  <a:pt x="0" y="748"/>
                </a:cubicBezTo>
                <a:cubicBezTo>
                  <a:pt x="0" y="1057"/>
                  <a:pt x="161" y="1329"/>
                  <a:pt x="404" y="1484"/>
                </a:cubicBezTo>
                <a:cubicBezTo>
                  <a:pt x="1212" y="1484"/>
                  <a:pt x="1212" y="1484"/>
                  <a:pt x="1212" y="1484"/>
                </a:cubicBezTo>
                <a:lnTo>
                  <a:pt x="1212" y="1011"/>
                </a:ln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238C4C4-F7D6-466A-A81B-4E579A1D88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24903" y="1456265"/>
            <a:ext cx="3567097" cy="3994734"/>
          </a:xfrm>
          <a:custGeom>
            <a:avLst/>
            <a:gdLst>
              <a:gd name="connsiteX0" fmla="*/ 1996236 w 3567097"/>
              <a:gd name="connsiteY0" fmla="*/ 0 h 3994734"/>
              <a:gd name="connsiteX1" fmla="*/ 3536629 w 3567097"/>
              <a:gd name="connsiteY1" fmla="*/ 726856 h 3994734"/>
              <a:gd name="connsiteX2" fmla="*/ 3567097 w 3567097"/>
              <a:gd name="connsiteY2" fmla="*/ 767624 h 3994734"/>
              <a:gd name="connsiteX3" fmla="*/ 3567097 w 3567097"/>
              <a:gd name="connsiteY3" fmla="*/ 3227110 h 3994734"/>
              <a:gd name="connsiteX4" fmla="*/ 3536629 w 3567097"/>
              <a:gd name="connsiteY4" fmla="*/ 3267878 h 3994734"/>
              <a:gd name="connsiteX5" fmla="*/ 1996236 w 3567097"/>
              <a:gd name="connsiteY5" fmla="*/ 3994734 h 3994734"/>
              <a:gd name="connsiteX6" fmla="*/ 0 w 3567097"/>
              <a:gd name="connsiteY6" fmla="*/ 1997367 h 3994734"/>
              <a:gd name="connsiteX7" fmla="*/ 1996236 w 3567097"/>
              <a:gd name="connsiteY7" fmla="*/ 0 h 3994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67097" h="3994734">
                <a:moveTo>
                  <a:pt x="1996236" y="0"/>
                </a:moveTo>
                <a:cubicBezTo>
                  <a:pt x="2616387" y="0"/>
                  <a:pt x="3170490" y="282947"/>
                  <a:pt x="3536629" y="726856"/>
                </a:cubicBezTo>
                <a:lnTo>
                  <a:pt x="3567097" y="767624"/>
                </a:lnTo>
                <a:lnTo>
                  <a:pt x="3567097" y="3227110"/>
                </a:lnTo>
                <a:lnTo>
                  <a:pt x="3536629" y="3267878"/>
                </a:lnTo>
                <a:cubicBezTo>
                  <a:pt x="3170490" y="3711787"/>
                  <a:pt x="2616387" y="3994734"/>
                  <a:pt x="1996236" y="3994734"/>
                </a:cubicBezTo>
                <a:cubicBezTo>
                  <a:pt x="893745" y="3994734"/>
                  <a:pt x="0" y="3100482"/>
                  <a:pt x="0" y="1997367"/>
                </a:cubicBezTo>
                <a:cubicBezTo>
                  <a:pt x="0" y="894252"/>
                  <a:pt x="893745" y="0"/>
                  <a:pt x="1996236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151986"/>
            <a:ext cx="5536887" cy="1876263"/>
          </a:xfrm>
        </p:spPr>
        <p:txBody>
          <a:bodyPr vert="horz" lIns="0" tIns="182880" rIns="0" bIns="0" rtlCol="0" anchor="b">
            <a:noAutofit/>
          </a:bodyPr>
          <a:lstStyle>
            <a:lvl1pPr>
              <a:defRPr lang="en-US" sz="5400" dirty="0">
                <a:solidFill>
                  <a:schemeClr val="accent1"/>
                </a:solidFill>
                <a:latin typeface="+mn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38" y="4554950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46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46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649984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F28A28-4922-4916-AFC6-845CCE61E5FF}"/>
              </a:ext>
            </a:extLst>
          </p:cNvPr>
          <p:cNvSpPr/>
          <p:nvPr userDrawn="1"/>
        </p:nvSpPr>
        <p:spPr bwMode="ltGray">
          <a:xfrm>
            <a:off x="0" y="2308250"/>
            <a:ext cx="12192000" cy="2241500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FEAD26-BB58-4888-8067-7BFE8907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08250"/>
            <a:ext cx="11204448" cy="2241500"/>
          </a:xfrm>
        </p:spPr>
        <p:txBody>
          <a:bodyPr vert="horz" lIns="457200" tIns="0" rIns="457200" bIns="0" rtlCol="0" anchor="ctr">
            <a:noAutofit/>
          </a:bodyPr>
          <a:lstStyle>
            <a:lvl1pPr algn="ctr">
              <a:defRPr lang="en-US" sz="600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4B4470-AF44-490D-B3D0-FE6FB03B6585}"/>
              </a:ext>
            </a:extLst>
          </p:cNvPr>
          <p:cNvSpPr/>
          <p:nvPr userDrawn="1"/>
        </p:nvSpPr>
        <p:spPr bwMode="white">
          <a:xfrm>
            <a:off x="132899" y="6218787"/>
            <a:ext cx="11926202" cy="325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8785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4BFCF5BB-9E8B-4217-967B-E69B7177F9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6256" y="1003300"/>
            <a:ext cx="5481968" cy="4953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800" b="1">
                <a:latin typeface="+mj-lt"/>
              </a:defRPr>
            </a:lvl1pPr>
            <a:lvl2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800" b="1">
                <a:solidFill>
                  <a:schemeClr val="accent1"/>
                </a:solidFill>
              </a:defRPr>
            </a:lvl2pPr>
            <a:lvl3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401638" indent="-173038">
              <a:buFont typeface="Arial" panose="020B0604020202020204" pitchFamily="34" charset="0"/>
              <a:buChar char="̵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000"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662846C-0294-4C31-A1AF-8DE92524D15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233E9D7-7A6D-4859-8727-AD3BE12D4773}"/>
              </a:ext>
            </a:extLst>
          </p:cNvPr>
          <p:cNvSpPr txBox="1">
            <a:spLocks/>
          </p:cNvSpPr>
          <p:nvPr userDrawn="1"/>
        </p:nvSpPr>
        <p:spPr>
          <a:xfrm>
            <a:off x="645898" y="1694088"/>
            <a:ext cx="5647028" cy="17426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914377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228594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457189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685783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914377" algn="l" defTabSz="914377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/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E10F5BB-8BA0-4329-B8A2-D24501D14D4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1014680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A58EC3-CBBE-40C6-BACD-B91C5DEB98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9B1E174-6AB6-4FB5-9BF5-AB5031CB1BF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3654908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C4681B6-8BF4-4456-8C80-C5E766998CA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3837382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with Subtitle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871133"/>
            <a:ext cx="11204448" cy="4305300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E0346-B328-429D-9C68-41755BD260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4B0CAA-EEE3-4C6E-B655-8905CBF48B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3776" y="1087026"/>
            <a:ext cx="11204448" cy="418570"/>
          </a:xfrm>
        </p:spPr>
        <p:txBody>
          <a:bodyPr anchor="t"/>
          <a:lstStyle>
            <a:lvl1pPr marL="0" indent="0">
              <a:buNone/>
              <a:defRPr sz="22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holder 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0BDF31F-F938-4A4D-81AD-32D2EAFABA6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4163092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_No Logo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5232D39-0A1A-4BA0-979D-C31433B2E69B}"/>
              </a:ext>
            </a:extLst>
          </p:cNvPr>
          <p:cNvSpPr/>
          <p:nvPr userDrawn="1"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3027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wo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 Placeholder 14">
            <a:extLst>
              <a:ext uri="{FF2B5EF4-FFF2-40B4-BE49-F238E27FC236}">
                <a16:creationId xmlns:a16="http://schemas.microsoft.com/office/drawing/2014/main" id="{2DA0B400-1FD0-4E71-99C4-0FFC675A0A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16256" y="1321711"/>
            <a:ext cx="5481968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5A309F3-1319-4540-8AC3-1F65844DD0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3775" y="1321711"/>
            <a:ext cx="5481967" cy="48550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B0EDF6-74F5-4BCC-AA48-B7297D5DC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E264CB-2F28-4218-974F-746E15F9652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F081E9-D767-4156-81FC-0DF0FA8985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3398025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Thre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6C341B-649D-4364-8D26-ECF442AABF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93776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405A70D-A303-4430-BFE3-179FEFFA32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08764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6A4C870-5FB0-40F9-ACBF-B314B714AE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23752" y="1321663"/>
            <a:ext cx="3574473" cy="484596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AF46D-EC8C-4799-8268-F914B66AC1F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B314EC2-65A0-48A9-A282-73C1FA228D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506829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Weighte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4EAD72-0448-4B6F-86F3-D9B838B95C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3711" y="1756791"/>
            <a:ext cx="3229589" cy="443204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32621-08D8-4143-94A1-96F611F4E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7" y="642889"/>
            <a:ext cx="320815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EFA500-6C5D-4551-968A-183AAA0CDC6F}"/>
              </a:ext>
            </a:extLst>
          </p:cNvPr>
          <p:cNvCxnSpPr>
            <a:cxnSpLocks/>
          </p:cNvCxnSpPr>
          <p:nvPr userDrawn="1"/>
        </p:nvCxnSpPr>
        <p:spPr>
          <a:xfrm>
            <a:off x="4308764" y="669163"/>
            <a:ext cx="0" cy="5155563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05E3F98-F8EB-4010-96E1-2DC856BD43CB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029200" y="1322388"/>
            <a:ext cx="6669088" cy="4502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A4781-F335-4997-B2A3-D4ECEB6249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F99AE6-DDD6-49D1-8CA7-3B040BD0F32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1673829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Option B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84C230F-C4FA-452D-A6C0-ABF743E70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77660" y="0"/>
            <a:ext cx="5514340" cy="6858000"/>
          </a:xfrm>
          <a:custGeom>
            <a:avLst/>
            <a:gdLst>
              <a:gd name="connsiteX0" fmla="*/ 2071778 w 5514340"/>
              <a:gd name="connsiteY0" fmla="*/ 0 h 6858000"/>
              <a:gd name="connsiteX1" fmla="*/ 5514340 w 5514340"/>
              <a:gd name="connsiteY1" fmla="*/ 0 h 6858000"/>
              <a:gd name="connsiteX2" fmla="*/ 5514340 w 5514340"/>
              <a:gd name="connsiteY2" fmla="*/ 6858000 h 6858000"/>
              <a:gd name="connsiteX3" fmla="*/ 1975488 w 5514340"/>
              <a:gd name="connsiteY3" fmla="*/ 6858000 h 6858000"/>
              <a:gd name="connsiteX4" fmla="*/ 1886350 w 5514340"/>
              <a:gd name="connsiteY4" fmla="*/ 6806747 h 6858000"/>
              <a:gd name="connsiteX5" fmla="*/ 0 w 5514340"/>
              <a:gd name="connsiteY5" fmla="*/ 3456012 h 6858000"/>
              <a:gd name="connsiteX6" fmla="*/ 2050422 w 5514340"/>
              <a:gd name="connsiteY6" fmla="*/ 1093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14340" h="6858000">
                <a:moveTo>
                  <a:pt x="2071778" y="0"/>
                </a:moveTo>
                <a:lnTo>
                  <a:pt x="5514340" y="0"/>
                </a:lnTo>
                <a:lnTo>
                  <a:pt x="5514340" y="6858000"/>
                </a:lnTo>
                <a:lnTo>
                  <a:pt x="1975488" y="6858000"/>
                </a:lnTo>
                <a:lnTo>
                  <a:pt x="1886350" y="6806747"/>
                </a:lnTo>
                <a:cubicBezTo>
                  <a:pt x="755439" y="6119589"/>
                  <a:pt x="0" y="4876022"/>
                  <a:pt x="0" y="3456012"/>
                </a:cubicBezTo>
                <a:cubicBezTo>
                  <a:pt x="0" y="1968383"/>
                  <a:pt x="829099" y="674400"/>
                  <a:pt x="2050422" y="10938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en-US"/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87464C84-9B11-4E7C-9C99-8B8EACAE6B21}"/>
              </a:ext>
            </a:extLst>
          </p:cNvPr>
          <p:cNvSpPr>
            <a:spLocks noChangeAspect="1"/>
          </p:cNvSpPr>
          <p:nvPr userDrawn="1"/>
        </p:nvSpPr>
        <p:spPr bwMode="ltGray">
          <a:xfrm>
            <a:off x="6559769" y="0"/>
            <a:ext cx="2192109" cy="6858000"/>
          </a:xfrm>
          <a:custGeom>
            <a:avLst/>
            <a:gdLst>
              <a:gd name="connsiteX0" fmla="*/ 1946802 w 2192109"/>
              <a:gd name="connsiteY0" fmla="*/ 0 h 6858000"/>
              <a:gd name="connsiteX1" fmla="*/ 2192109 w 2192109"/>
              <a:gd name="connsiteY1" fmla="*/ 0 h 6858000"/>
              <a:gd name="connsiteX2" fmla="*/ 2171997 w 2192109"/>
              <a:gd name="connsiteY2" fmla="*/ 10301 h 6858000"/>
              <a:gd name="connsiteX3" fmla="*/ 121196 w 2192109"/>
              <a:gd name="connsiteY3" fmla="*/ 3456012 h 6858000"/>
              <a:gd name="connsiteX4" fmla="*/ 2007895 w 2192109"/>
              <a:gd name="connsiteY4" fmla="*/ 6807367 h 6858000"/>
              <a:gd name="connsiteX5" fmla="*/ 2095955 w 2192109"/>
              <a:gd name="connsiteY5" fmla="*/ 6858000 h 6858000"/>
              <a:gd name="connsiteX6" fmla="*/ 1862352 w 2192109"/>
              <a:gd name="connsiteY6" fmla="*/ 6858000 h 6858000"/>
              <a:gd name="connsiteX7" fmla="*/ 1781140 w 2192109"/>
              <a:gd name="connsiteY7" fmla="*/ 6805936 h 6858000"/>
              <a:gd name="connsiteX8" fmla="*/ 0 w 2192109"/>
              <a:gd name="connsiteY8" fmla="*/ 3456012 h 6858000"/>
              <a:gd name="connsiteX9" fmla="*/ 1945050 w 2192109"/>
              <a:gd name="connsiteY9" fmla="*/ 10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92109" h="6858000">
                <a:moveTo>
                  <a:pt x="1946802" y="0"/>
                </a:moveTo>
                <a:lnTo>
                  <a:pt x="2192109" y="0"/>
                </a:lnTo>
                <a:lnTo>
                  <a:pt x="2171997" y="10301"/>
                </a:lnTo>
                <a:cubicBezTo>
                  <a:pt x="950448" y="673886"/>
                  <a:pt x="121196" y="1968108"/>
                  <a:pt x="121196" y="3456012"/>
                </a:cubicBezTo>
                <a:cubicBezTo>
                  <a:pt x="121196" y="4876284"/>
                  <a:pt x="876775" y="6120081"/>
                  <a:pt x="2007895" y="6807367"/>
                </a:cubicBezTo>
                <a:lnTo>
                  <a:pt x="2095955" y="6858000"/>
                </a:lnTo>
                <a:lnTo>
                  <a:pt x="1862352" y="6858000"/>
                </a:lnTo>
                <a:lnTo>
                  <a:pt x="1781140" y="6805936"/>
                </a:lnTo>
                <a:cubicBezTo>
                  <a:pt x="706528" y="6079942"/>
                  <a:pt x="0" y="4850487"/>
                  <a:pt x="0" y="3456012"/>
                </a:cubicBezTo>
                <a:cubicBezTo>
                  <a:pt x="0" y="1991814"/>
                  <a:pt x="778947" y="709549"/>
                  <a:pt x="1945050" y="1008"/>
                </a:cubicBezTo>
                <a:close/>
              </a:path>
            </a:pathLst>
          </a:cu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13248A8-0948-46BD-81D6-9D1715B91B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1437" y="2597672"/>
            <a:ext cx="2903446" cy="1662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764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38D749E-10F3-468F-A695-20684D44BAB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ltGray">
          <a:xfrm>
            <a:off x="1" y="0"/>
            <a:ext cx="10037025" cy="6858000"/>
          </a:xfrm>
          <a:custGeom>
            <a:avLst/>
            <a:gdLst>
              <a:gd name="connsiteX0" fmla="*/ 0 w 10037025"/>
              <a:gd name="connsiteY0" fmla="*/ 0 h 6858000"/>
              <a:gd name="connsiteX1" fmla="*/ 2237 w 10037025"/>
              <a:gd name="connsiteY1" fmla="*/ 0 h 6858000"/>
              <a:gd name="connsiteX2" fmla="*/ 17892 w 10037025"/>
              <a:gd name="connsiteY2" fmla="*/ 0 h 6858000"/>
              <a:gd name="connsiteX3" fmla="*/ 60384 w 10037025"/>
              <a:gd name="connsiteY3" fmla="*/ 0 h 6858000"/>
              <a:gd name="connsiteX4" fmla="*/ 95887 w 10037025"/>
              <a:gd name="connsiteY4" fmla="*/ 0 h 6858000"/>
              <a:gd name="connsiteX5" fmla="*/ 143131 w 10037025"/>
              <a:gd name="connsiteY5" fmla="*/ 0 h 6858000"/>
              <a:gd name="connsiteX6" fmla="*/ 203794 w 10037025"/>
              <a:gd name="connsiteY6" fmla="*/ 0 h 6858000"/>
              <a:gd name="connsiteX7" fmla="*/ 279553 w 10037025"/>
              <a:gd name="connsiteY7" fmla="*/ 0 h 6858000"/>
              <a:gd name="connsiteX8" fmla="*/ 372085 w 10037025"/>
              <a:gd name="connsiteY8" fmla="*/ 0 h 6858000"/>
              <a:gd name="connsiteX9" fmla="*/ 483068 w 10037025"/>
              <a:gd name="connsiteY9" fmla="*/ 0 h 6858000"/>
              <a:gd name="connsiteX10" fmla="*/ 614178 w 10037025"/>
              <a:gd name="connsiteY10" fmla="*/ 0 h 6858000"/>
              <a:gd name="connsiteX11" fmla="*/ 767094 w 10037025"/>
              <a:gd name="connsiteY11" fmla="*/ 0 h 6858000"/>
              <a:gd name="connsiteX12" fmla="*/ 943492 w 10037025"/>
              <a:gd name="connsiteY12" fmla="*/ 0 h 6858000"/>
              <a:gd name="connsiteX13" fmla="*/ 1145050 w 10037025"/>
              <a:gd name="connsiteY13" fmla="*/ 0 h 6858000"/>
              <a:gd name="connsiteX14" fmla="*/ 1373445 w 10037025"/>
              <a:gd name="connsiteY14" fmla="*/ 0 h 6858000"/>
              <a:gd name="connsiteX15" fmla="*/ 1630354 w 10037025"/>
              <a:gd name="connsiteY15" fmla="*/ 0 h 6858000"/>
              <a:gd name="connsiteX16" fmla="*/ 1917455 w 10037025"/>
              <a:gd name="connsiteY16" fmla="*/ 0 h 6858000"/>
              <a:gd name="connsiteX17" fmla="*/ 2236425 w 10037025"/>
              <a:gd name="connsiteY17" fmla="*/ 0 h 6858000"/>
              <a:gd name="connsiteX18" fmla="*/ 2588941 w 10037025"/>
              <a:gd name="connsiteY18" fmla="*/ 0 h 6858000"/>
              <a:gd name="connsiteX19" fmla="*/ 2976682 w 10037025"/>
              <a:gd name="connsiteY19" fmla="*/ 0 h 6858000"/>
              <a:gd name="connsiteX20" fmla="*/ 3401323 w 10037025"/>
              <a:gd name="connsiteY20" fmla="*/ 0 h 6858000"/>
              <a:gd name="connsiteX21" fmla="*/ 3864542 w 10037025"/>
              <a:gd name="connsiteY21" fmla="*/ 0 h 6858000"/>
              <a:gd name="connsiteX22" fmla="*/ 4368018 w 10037025"/>
              <a:gd name="connsiteY22" fmla="*/ 0 h 6858000"/>
              <a:gd name="connsiteX23" fmla="*/ 4913426 w 10037025"/>
              <a:gd name="connsiteY23" fmla="*/ 0 h 6858000"/>
              <a:gd name="connsiteX24" fmla="*/ 5502444 w 10037025"/>
              <a:gd name="connsiteY24" fmla="*/ 0 h 6858000"/>
              <a:gd name="connsiteX25" fmla="*/ 6136750 w 10037025"/>
              <a:gd name="connsiteY25" fmla="*/ 0 h 6858000"/>
              <a:gd name="connsiteX26" fmla="*/ 6818021 w 10037025"/>
              <a:gd name="connsiteY26" fmla="*/ 0 h 6858000"/>
              <a:gd name="connsiteX27" fmla="*/ 7547934 w 10037025"/>
              <a:gd name="connsiteY27" fmla="*/ 0 h 6858000"/>
              <a:gd name="connsiteX28" fmla="*/ 8328167 w 10037025"/>
              <a:gd name="connsiteY28" fmla="*/ 0 h 6858000"/>
              <a:gd name="connsiteX29" fmla="*/ 8737677 w 10037025"/>
              <a:gd name="connsiteY29" fmla="*/ 0 h 6858000"/>
              <a:gd name="connsiteX30" fmla="*/ 9160396 w 10037025"/>
              <a:gd name="connsiteY30" fmla="*/ 0 h 6858000"/>
              <a:gd name="connsiteX31" fmla="*/ 10037025 w 10037025"/>
              <a:gd name="connsiteY31" fmla="*/ 3429000 h 6858000"/>
              <a:gd name="connsiteX32" fmla="*/ 9160396 w 10037025"/>
              <a:gd name="connsiteY32" fmla="*/ 6858000 h 6858000"/>
              <a:gd name="connsiteX33" fmla="*/ 9158160 w 10037025"/>
              <a:gd name="connsiteY33" fmla="*/ 6858000 h 6858000"/>
              <a:gd name="connsiteX34" fmla="*/ 9142505 w 10037025"/>
              <a:gd name="connsiteY34" fmla="*/ 6858000 h 6858000"/>
              <a:gd name="connsiteX35" fmla="*/ 9100012 w 10037025"/>
              <a:gd name="connsiteY35" fmla="*/ 6858000 h 6858000"/>
              <a:gd name="connsiteX36" fmla="*/ 9064509 w 10037025"/>
              <a:gd name="connsiteY36" fmla="*/ 6858000 h 6858000"/>
              <a:gd name="connsiteX37" fmla="*/ 9017265 w 10037025"/>
              <a:gd name="connsiteY37" fmla="*/ 6858000 h 6858000"/>
              <a:gd name="connsiteX38" fmla="*/ 8956602 w 10037025"/>
              <a:gd name="connsiteY38" fmla="*/ 6858000 h 6858000"/>
              <a:gd name="connsiteX39" fmla="*/ 8880843 w 10037025"/>
              <a:gd name="connsiteY39" fmla="*/ 6858000 h 6858000"/>
              <a:gd name="connsiteX40" fmla="*/ 8788311 w 10037025"/>
              <a:gd name="connsiteY40" fmla="*/ 6858000 h 6858000"/>
              <a:gd name="connsiteX41" fmla="*/ 8677328 w 10037025"/>
              <a:gd name="connsiteY41" fmla="*/ 6858000 h 6858000"/>
              <a:gd name="connsiteX42" fmla="*/ 8546218 w 10037025"/>
              <a:gd name="connsiteY42" fmla="*/ 6858000 h 6858000"/>
              <a:gd name="connsiteX43" fmla="*/ 8393302 w 10037025"/>
              <a:gd name="connsiteY43" fmla="*/ 6858000 h 6858000"/>
              <a:gd name="connsiteX44" fmla="*/ 8216905 w 10037025"/>
              <a:gd name="connsiteY44" fmla="*/ 6858000 h 6858000"/>
              <a:gd name="connsiteX45" fmla="*/ 8015347 w 10037025"/>
              <a:gd name="connsiteY45" fmla="*/ 6858000 h 6858000"/>
              <a:gd name="connsiteX46" fmla="*/ 7786952 w 10037025"/>
              <a:gd name="connsiteY46" fmla="*/ 6858000 h 6858000"/>
              <a:gd name="connsiteX47" fmla="*/ 7530043 w 10037025"/>
              <a:gd name="connsiteY47" fmla="*/ 6858000 h 6858000"/>
              <a:gd name="connsiteX48" fmla="*/ 7242942 w 10037025"/>
              <a:gd name="connsiteY48" fmla="*/ 6858000 h 6858000"/>
              <a:gd name="connsiteX49" fmla="*/ 6923972 w 10037025"/>
              <a:gd name="connsiteY49" fmla="*/ 6858000 h 6858000"/>
              <a:gd name="connsiteX50" fmla="*/ 6571455 w 10037025"/>
              <a:gd name="connsiteY50" fmla="*/ 6858000 h 6858000"/>
              <a:gd name="connsiteX51" fmla="*/ 6183715 w 10037025"/>
              <a:gd name="connsiteY51" fmla="*/ 6858000 h 6858000"/>
              <a:gd name="connsiteX52" fmla="*/ 5759074 w 10037025"/>
              <a:gd name="connsiteY52" fmla="*/ 6858000 h 6858000"/>
              <a:gd name="connsiteX53" fmla="*/ 5295854 w 10037025"/>
              <a:gd name="connsiteY53" fmla="*/ 6858000 h 6858000"/>
              <a:gd name="connsiteX54" fmla="*/ 4792379 w 10037025"/>
              <a:gd name="connsiteY54" fmla="*/ 6858000 h 6858000"/>
              <a:gd name="connsiteX55" fmla="*/ 4246971 w 10037025"/>
              <a:gd name="connsiteY55" fmla="*/ 6858000 h 6858000"/>
              <a:gd name="connsiteX56" fmla="*/ 3657953 w 10037025"/>
              <a:gd name="connsiteY56" fmla="*/ 6858000 h 6858000"/>
              <a:gd name="connsiteX57" fmla="*/ 3023647 w 10037025"/>
              <a:gd name="connsiteY57" fmla="*/ 6858000 h 6858000"/>
              <a:gd name="connsiteX58" fmla="*/ 2342376 w 10037025"/>
              <a:gd name="connsiteY58" fmla="*/ 6858000 h 6858000"/>
              <a:gd name="connsiteX59" fmla="*/ 1612463 w 10037025"/>
              <a:gd name="connsiteY59" fmla="*/ 6858000 h 6858000"/>
              <a:gd name="connsiteX60" fmla="*/ 832230 w 10037025"/>
              <a:gd name="connsiteY60" fmla="*/ 6858000 h 6858000"/>
              <a:gd name="connsiteX61" fmla="*/ 422719 w 10037025"/>
              <a:gd name="connsiteY61" fmla="*/ 6858000 h 6858000"/>
              <a:gd name="connsiteX62" fmla="*/ 0 w 10037025"/>
              <a:gd name="connsiteY6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10037025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1145050" y="0"/>
                </a:lnTo>
                <a:lnTo>
                  <a:pt x="1373445" y="0"/>
                </a:lnTo>
                <a:lnTo>
                  <a:pt x="1630354" y="0"/>
                </a:lnTo>
                <a:lnTo>
                  <a:pt x="1917455" y="0"/>
                </a:lnTo>
                <a:lnTo>
                  <a:pt x="2236425" y="0"/>
                </a:lnTo>
                <a:lnTo>
                  <a:pt x="2588941" y="0"/>
                </a:lnTo>
                <a:lnTo>
                  <a:pt x="2976682" y="0"/>
                </a:lnTo>
                <a:lnTo>
                  <a:pt x="3401323" y="0"/>
                </a:lnTo>
                <a:lnTo>
                  <a:pt x="3864542" y="0"/>
                </a:lnTo>
                <a:lnTo>
                  <a:pt x="4368018" y="0"/>
                </a:lnTo>
                <a:lnTo>
                  <a:pt x="4913426" y="0"/>
                </a:lnTo>
                <a:lnTo>
                  <a:pt x="5502444" y="0"/>
                </a:lnTo>
                <a:lnTo>
                  <a:pt x="6136750" y="0"/>
                </a:lnTo>
                <a:lnTo>
                  <a:pt x="6818021" y="0"/>
                </a:lnTo>
                <a:lnTo>
                  <a:pt x="7547934" y="0"/>
                </a:lnTo>
                <a:lnTo>
                  <a:pt x="8328167" y="0"/>
                </a:lnTo>
                <a:lnTo>
                  <a:pt x="8737677" y="0"/>
                </a:lnTo>
                <a:lnTo>
                  <a:pt x="9160396" y="0"/>
                </a:lnTo>
                <a:cubicBezTo>
                  <a:pt x="9719106" y="1018571"/>
                  <a:pt x="10037025" y="2187207"/>
                  <a:pt x="10037025" y="3429000"/>
                </a:cubicBezTo>
                <a:cubicBezTo>
                  <a:pt x="10037025" y="4671731"/>
                  <a:pt x="9719106" y="5839430"/>
                  <a:pt x="9160396" y="6858000"/>
                </a:cubicBezTo>
                <a:lnTo>
                  <a:pt x="9158160" y="6858000"/>
                </a:lnTo>
                <a:lnTo>
                  <a:pt x="9142505" y="6858000"/>
                </a:lnTo>
                <a:lnTo>
                  <a:pt x="9100012" y="6858000"/>
                </a:lnTo>
                <a:lnTo>
                  <a:pt x="9064509" y="6858000"/>
                </a:lnTo>
                <a:lnTo>
                  <a:pt x="9017265" y="6858000"/>
                </a:lnTo>
                <a:lnTo>
                  <a:pt x="8956602" y="6858000"/>
                </a:lnTo>
                <a:lnTo>
                  <a:pt x="8880843" y="6858000"/>
                </a:lnTo>
                <a:lnTo>
                  <a:pt x="8788311" y="6858000"/>
                </a:lnTo>
                <a:lnTo>
                  <a:pt x="8677328" y="6858000"/>
                </a:lnTo>
                <a:lnTo>
                  <a:pt x="8546218" y="6858000"/>
                </a:lnTo>
                <a:lnTo>
                  <a:pt x="8393302" y="6858000"/>
                </a:lnTo>
                <a:lnTo>
                  <a:pt x="8216905" y="6858000"/>
                </a:lnTo>
                <a:lnTo>
                  <a:pt x="8015347" y="6858000"/>
                </a:lnTo>
                <a:lnTo>
                  <a:pt x="7786952" y="6858000"/>
                </a:lnTo>
                <a:lnTo>
                  <a:pt x="7530043" y="6858000"/>
                </a:lnTo>
                <a:lnTo>
                  <a:pt x="7242942" y="6858000"/>
                </a:lnTo>
                <a:lnTo>
                  <a:pt x="6923972" y="6858000"/>
                </a:lnTo>
                <a:lnTo>
                  <a:pt x="6571455" y="6858000"/>
                </a:lnTo>
                <a:lnTo>
                  <a:pt x="6183715" y="6858000"/>
                </a:lnTo>
                <a:lnTo>
                  <a:pt x="5759074" y="6858000"/>
                </a:lnTo>
                <a:lnTo>
                  <a:pt x="5295854" y="6858000"/>
                </a:lnTo>
                <a:lnTo>
                  <a:pt x="4792379" y="6858000"/>
                </a:lnTo>
                <a:lnTo>
                  <a:pt x="4246971" y="6858000"/>
                </a:lnTo>
                <a:lnTo>
                  <a:pt x="3657953" y="6858000"/>
                </a:lnTo>
                <a:lnTo>
                  <a:pt x="3023647" y="6858000"/>
                </a:lnTo>
                <a:lnTo>
                  <a:pt x="2342376" y="6858000"/>
                </a:lnTo>
                <a:lnTo>
                  <a:pt x="161246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C370884F-6311-49C2-8806-A75B8B32042D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0029017" cy="6852528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 indent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</a:pPr>
            <a:endParaRPr lang="en-US" sz="2000" b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  <a:sym typeface="Proxima Nova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629D78-F573-4D41-A217-4A90EC9145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1781" y="6087872"/>
            <a:ext cx="1308671" cy="43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49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Lef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29A41F1-58BA-49CE-9836-9967CA8735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ltGray">
          <a:xfrm>
            <a:off x="1" y="0"/>
            <a:ext cx="6095999" cy="6858000"/>
          </a:xfrm>
          <a:custGeom>
            <a:avLst/>
            <a:gdLst>
              <a:gd name="connsiteX0" fmla="*/ 0 w 6095999"/>
              <a:gd name="connsiteY0" fmla="*/ 0 h 6858000"/>
              <a:gd name="connsiteX1" fmla="*/ 2237 w 6095999"/>
              <a:gd name="connsiteY1" fmla="*/ 0 h 6858000"/>
              <a:gd name="connsiteX2" fmla="*/ 17892 w 6095999"/>
              <a:gd name="connsiteY2" fmla="*/ 0 h 6858000"/>
              <a:gd name="connsiteX3" fmla="*/ 60384 w 6095999"/>
              <a:gd name="connsiteY3" fmla="*/ 0 h 6858000"/>
              <a:gd name="connsiteX4" fmla="*/ 95887 w 6095999"/>
              <a:gd name="connsiteY4" fmla="*/ 0 h 6858000"/>
              <a:gd name="connsiteX5" fmla="*/ 143131 w 6095999"/>
              <a:gd name="connsiteY5" fmla="*/ 0 h 6858000"/>
              <a:gd name="connsiteX6" fmla="*/ 203794 w 6095999"/>
              <a:gd name="connsiteY6" fmla="*/ 0 h 6858000"/>
              <a:gd name="connsiteX7" fmla="*/ 279553 w 6095999"/>
              <a:gd name="connsiteY7" fmla="*/ 0 h 6858000"/>
              <a:gd name="connsiteX8" fmla="*/ 372085 w 6095999"/>
              <a:gd name="connsiteY8" fmla="*/ 0 h 6858000"/>
              <a:gd name="connsiteX9" fmla="*/ 426992 w 6095999"/>
              <a:gd name="connsiteY9" fmla="*/ 0 h 6858000"/>
              <a:gd name="connsiteX10" fmla="*/ 483068 w 6095999"/>
              <a:gd name="connsiteY10" fmla="*/ 0 h 6858000"/>
              <a:gd name="connsiteX11" fmla="*/ 614178 w 6095999"/>
              <a:gd name="connsiteY11" fmla="*/ 0 h 6858000"/>
              <a:gd name="connsiteX12" fmla="*/ 767094 w 6095999"/>
              <a:gd name="connsiteY12" fmla="*/ 0 h 6858000"/>
              <a:gd name="connsiteX13" fmla="*/ 943492 w 6095999"/>
              <a:gd name="connsiteY13" fmla="*/ 0 h 6858000"/>
              <a:gd name="connsiteX14" fmla="*/ 972400 w 6095999"/>
              <a:gd name="connsiteY14" fmla="*/ 0 h 6858000"/>
              <a:gd name="connsiteX15" fmla="*/ 1145050 w 6095999"/>
              <a:gd name="connsiteY15" fmla="*/ 0 h 6858000"/>
              <a:gd name="connsiteX16" fmla="*/ 1373445 w 6095999"/>
              <a:gd name="connsiteY16" fmla="*/ 0 h 6858000"/>
              <a:gd name="connsiteX17" fmla="*/ 1561418 w 6095999"/>
              <a:gd name="connsiteY17" fmla="*/ 0 h 6858000"/>
              <a:gd name="connsiteX18" fmla="*/ 1630354 w 6095999"/>
              <a:gd name="connsiteY18" fmla="*/ 0 h 6858000"/>
              <a:gd name="connsiteX19" fmla="*/ 1917455 w 6095999"/>
              <a:gd name="connsiteY19" fmla="*/ 0 h 6858000"/>
              <a:gd name="connsiteX20" fmla="*/ 2195724 w 6095999"/>
              <a:gd name="connsiteY20" fmla="*/ 0 h 6858000"/>
              <a:gd name="connsiteX21" fmla="*/ 2236425 w 6095999"/>
              <a:gd name="connsiteY21" fmla="*/ 0 h 6858000"/>
              <a:gd name="connsiteX22" fmla="*/ 2588941 w 6095999"/>
              <a:gd name="connsiteY22" fmla="*/ 0 h 6858000"/>
              <a:gd name="connsiteX23" fmla="*/ 2876995 w 6095999"/>
              <a:gd name="connsiteY23" fmla="*/ 0 h 6858000"/>
              <a:gd name="connsiteX24" fmla="*/ 2976682 w 6095999"/>
              <a:gd name="connsiteY24" fmla="*/ 0 h 6858000"/>
              <a:gd name="connsiteX25" fmla="*/ 3401323 w 6095999"/>
              <a:gd name="connsiteY25" fmla="*/ 0 h 6858000"/>
              <a:gd name="connsiteX26" fmla="*/ 3606908 w 6095999"/>
              <a:gd name="connsiteY26" fmla="*/ 0 h 6858000"/>
              <a:gd name="connsiteX27" fmla="*/ 3864542 w 6095999"/>
              <a:gd name="connsiteY27" fmla="*/ 0 h 6858000"/>
              <a:gd name="connsiteX28" fmla="*/ 4368018 w 6095999"/>
              <a:gd name="connsiteY28" fmla="*/ 0 h 6858000"/>
              <a:gd name="connsiteX29" fmla="*/ 4387141 w 6095999"/>
              <a:gd name="connsiteY29" fmla="*/ 0 h 6858000"/>
              <a:gd name="connsiteX30" fmla="*/ 4796651 w 6095999"/>
              <a:gd name="connsiteY30" fmla="*/ 0 h 6858000"/>
              <a:gd name="connsiteX31" fmla="*/ 4913426 w 6095999"/>
              <a:gd name="connsiteY31" fmla="*/ 0 h 6858000"/>
              <a:gd name="connsiteX32" fmla="*/ 5219370 w 6095999"/>
              <a:gd name="connsiteY32" fmla="*/ 0 h 6858000"/>
              <a:gd name="connsiteX33" fmla="*/ 6095999 w 6095999"/>
              <a:gd name="connsiteY33" fmla="*/ 3429000 h 6858000"/>
              <a:gd name="connsiteX34" fmla="*/ 5219370 w 6095999"/>
              <a:gd name="connsiteY34" fmla="*/ 6858000 h 6858000"/>
              <a:gd name="connsiteX35" fmla="*/ 5217134 w 6095999"/>
              <a:gd name="connsiteY35" fmla="*/ 6858000 h 6858000"/>
              <a:gd name="connsiteX36" fmla="*/ 5201479 w 6095999"/>
              <a:gd name="connsiteY36" fmla="*/ 6858000 h 6858000"/>
              <a:gd name="connsiteX37" fmla="*/ 5158986 w 6095999"/>
              <a:gd name="connsiteY37" fmla="*/ 6858000 h 6858000"/>
              <a:gd name="connsiteX38" fmla="*/ 5123483 w 6095999"/>
              <a:gd name="connsiteY38" fmla="*/ 6858000 h 6858000"/>
              <a:gd name="connsiteX39" fmla="*/ 5076239 w 6095999"/>
              <a:gd name="connsiteY39" fmla="*/ 6858000 h 6858000"/>
              <a:gd name="connsiteX40" fmla="*/ 5015576 w 6095999"/>
              <a:gd name="connsiteY40" fmla="*/ 6858000 h 6858000"/>
              <a:gd name="connsiteX41" fmla="*/ 4939817 w 6095999"/>
              <a:gd name="connsiteY41" fmla="*/ 6858000 h 6858000"/>
              <a:gd name="connsiteX42" fmla="*/ 4847285 w 6095999"/>
              <a:gd name="connsiteY42" fmla="*/ 6858000 h 6858000"/>
              <a:gd name="connsiteX43" fmla="*/ 4792379 w 6095999"/>
              <a:gd name="connsiteY43" fmla="*/ 6858000 h 6858000"/>
              <a:gd name="connsiteX44" fmla="*/ 4736302 w 6095999"/>
              <a:gd name="connsiteY44" fmla="*/ 6858000 h 6858000"/>
              <a:gd name="connsiteX45" fmla="*/ 4605192 w 6095999"/>
              <a:gd name="connsiteY45" fmla="*/ 6858000 h 6858000"/>
              <a:gd name="connsiteX46" fmla="*/ 4452276 w 6095999"/>
              <a:gd name="connsiteY46" fmla="*/ 6858000 h 6858000"/>
              <a:gd name="connsiteX47" fmla="*/ 4275879 w 6095999"/>
              <a:gd name="connsiteY47" fmla="*/ 6858000 h 6858000"/>
              <a:gd name="connsiteX48" fmla="*/ 4246971 w 6095999"/>
              <a:gd name="connsiteY48" fmla="*/ 6858000 h 6858000"/>
              <a:gd name="connsiteX49" fmla="*/ 4074321 w 6095999"/>
              <a:gd name="connsiteY49" fmla="*/ 6858000 h 6858000"/>
              <a:gd name="connsiteX50" fmla="*/ 3845926 w 6095999"/>
              <a:gd name="connsiteY50" fmla="*/ 6858000 h 6858000"/>
              <a:gd name="connsiteX51" fmla="*/ 3657953 w 6095999"/>
              <a:gd name="connsiteY51" fmla="*/ 6858000 h 6858000"/>
              <a:gd name="connsiteX52" fmla="*/ 3589017 w 6095999"/>
              <a:gd name="connsiteY52" fmla="*/ 6858000 h 6858000"/>
              <a:gd name="connsiteX53" fmla="*/ 3301916 w 6095999"/>
              <a:gd name="connsiteY53" fmla="*/ 6858000 h 6858000"/>
              <a:gd name="connsiteX54" fmla="*/ 3023647 w 6095999"/>
              <a:gd name="connsiteY54" fmla="*/ 6858000 h 6858000"/>
              <a:gd name="connsiteX55" fmla="*/ 2982946 w 6095999"/>
              <a:gd name="connsiteY55" fmla="*/ 6858000 h 6858000"/>
              <a:gd name="connsiteX56" fmla="*/ 2630429 w 6095999"/>
              <a:gd name="connsiteY56" fmla="*/ 6858000 h 6858000"/>
              <a:gd name="connsiteX57" fmla="*/ 2342376 w 6095999"/>
              <a:gd name="connsiteY57" fmla="*/ 6858000 h 6858000"/>
              <a:gd name="connsiteX58" fmla="*/ 2242689 w 6095999"/>
              <a:gd name="connsiteY58" fmla="*/ 6858000 h 6858000"/>
              <a:gd name="connsiteX59" fmla="*/ 1818048 w 6095999"/>
              <a:gd name="connsiteY59" fmla="*/ 6858000 h 6858000"/>
              <a:gd name="connsiteX60" fmla="*/ 1612463 w 6095999"/>
              <a:gd name="connsiteY60" fmla="*/ 6858000 h 6858000"/>
              <a:gd name="connsiteX61" fmla="*/ 1354828 w 6095999"/>
              <a:gd name="connsiteY61" fmla="*/ 6858000 h 6858000"/>
              <a:gd name="connsiteX62" fmla="*/ 851353 w 6095999"/>
              <a:gd name="connsiteY62" fmla="*/ 6858000 h 6858000"/>
              <a:gd name="connsiteX63" fmla="*/ 832230 w 6095999"/>
              <a:gd name="connsiteY63" fmla="*/ 6858000 h 6858000"/>
              <a:gd name="connsiteX64" fmla="*/ 422719 w 6095999"/>
              <a:gd name="connsiteY64" fmla="*/ 6858000 h 6858000"/>
              <a:gd name="connsiteX65" fmla="*/ 305945 w 6095999"/>
              <a:gd name="connsiteY65" fmla="*/ 6858000 h 6858000"/>
              <a:gd name="connsiteX66" fmla="*/ 0 w 6095999"/>
              <a:gd name="connsiteY6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95999" h="6858000">
                <a:moveTo>
                  <a:pt x="0" y="0"/>
                </a:moveTo>
                <a:lnTo>
                  <a:pt x="2237" y="0"/>
                </a:lnTo>
                <a:lnTo>
                  <a:pt x="17892" y="0"/>
                </a:lnTo>
                <a:lnTo>
                  <a:pt x="60384" y="0"/>
                </a:lnTo>
                <a:lnTo>
                  <a:pt x="95887" y="0"/>
                </a:lnTo>
                <a:lnTo>
                  <a:pt x="143131" y="0"/>
                </a:lnTo>
                <a:lnTo>
                  <a:pt x="203794" y="0"/>
                </a:lnTo>
                <a:lnTo>
                  <a:pt x="279553" y="0"/>
                </a:lnTo>
                <a:lnTo>
                  <a:pt x="372085" y="0"/>
                </a:lnTo>
                <a:lnTo>
                  <a:pt x="426992" y="0"/>
                </a:lnTo>
                <a:lnTo>
                  <a:pt x="483068" y="0"/>
                </a:lnTo>
                <a:lnTo>
                  <a:pt x="614178" y="0"/>
                </a:lnTo>
                <a:lnTo>
                  <a:pt x="767094" y="0"/>
                </a:lnTo>
                <a:lnTo>
                  <a:pt x="943492" y="0"/>
                </a:lnTo>
                <a:lnTo>
                  <a:pt x="972400" y="0"/>
                </a:lnTo>
                <a:lnTo>
                  <a:pt x="1145050" y="0"/>
                </a:lnTo>
                <a:lnTo>
                  <a:pt x="1373445" y="0"/>
                </a:lnTo>
                <a:lnTo>
                  <a:pt x="1561418" y="0"/>
                </a:lnTo>
                <a:lnTo>
                  <a:pt x="1630354" y="0"/>
                </a:lnTo>
                <a:lnTo>
                  <a:pt x="1917455" y="0"/>
                </a:lnTo>
                <a:lnTo>
                  <a:pt x="2195724" y="0"/>
                </a:lnTo>
                <a:lnTo>
                  <a:pt x="2236425" y="0"/>
                </a:lnTo>
                <a:lnTo>
                  <a:pt x="2588941" y="0"/>
                </a:lnTo>
                <a:lnTo>
                  <a:pt x="2876995" y="0"/>
                </a:lnTo>
                <a:lnTo>
                  <a:pt x="2976682" y="0"/>
                </a:lnTo>
                <a:lnTo>
                  <a:pt x="3401323" y="0"/>
                </a:lnTo>
                <a:lnTo>
                  <a:pt x="3606908" y="0"/>
                </a:lnTo>
                <a:lnTo>
                  <a:pt x="3864542" y="0"/>
                </a:lnTo>
                <a:lnTo>
                  <a:pt x="4368018" y="0"/>
                </a:lnTo>
                <a:lnTo>
                  <a:pt x="4387141" y="0"/>
                </a:lnTo>
                <a:lnTo>
                  <a:pt x="4796651" y="0"/>
                </a:lnTo>
                <a:lnTo>
                  <a:pt x="4913426" y="0"/>
                </a:lnTo>
                <a:lnTo>
                  <a:pt x="5219370" y="0"/>
                </a:lnTo>
                <a:cubicBezTo>
                  <a:pt x="5778080" y="1018571"/>
                  <a:pt x="6095999" y="2187207"/>
                  <a:pt x="6095999" y="3429000"/>
                </a:cubicBezTo>
                <a:cubicBezTo>
                  <a:pt x="6095999" y="4671731"/>
                  <a:pt x="5778080" y="5839430"/>
                  <a:pt x="5219370" y="6858000"/>
                </a:cubicBezTo>
                <a:lnTo>
                  <a:pt x="5217134" y="6858000"/>
                </a:lnTo>
                <a:lnTo>
                  <a:pt x="5201479" y="6858000"/>
                </a:lnTo>
                <a:lnTo>
                  <a:pt x="5158986" y="6858000"/>
                </a:lnTo>
                <a:lnTo>
                  <a:pt x="5123483" y="6858000"/>
                </a:lnTo>
                <a:lnTo>
                  <a:pt x="5076239" y="6858000"/>
                </a:lnTo>
                <a:lnTo>
                  <a:pt x="5015576" y="6858000"/>
                </a:lnTo>
                <a:lnTo>
                  <a:pt x="4939817" y="6858000"/>
                </a:lnTo>
                <a:lnTo>
                  <a:pt x="4847285" y="6858000"/>
                </a:lnTo>
                <a:lnTo>
                  <a:pt x="4792379" y="6858000"/>
                </a:lnTo>
                <a:lnTo>
                  <a:pt x="4736302" y="6858000"/>
                </a:lnTo>
                <a:lnTo>
                  <a:pt x="4605192" y="6858000"/>
                </a:lnTo>
                <a:lnTo>
                  <a:pt x="4452276" y="6858000"/>
                </a:lnTo>
                <a:lnTo>
                  <a:pt x="4275879" y="6858000"/>
                </a:lnTo>
                <a:lnTo>
                  <a:pt x="4246971" y="6858000"/>
                </a:lnTo>
                <a:lnTo>
                  <a:pt x="4074321" y="6858000"/>
                </a:lnTo>
                <a:lnTo>
                  <a:pt x="3845926" y="6858000"/>
                </a:lnTo>
                <a:lnTo>
                  <a:pt x="3657953" y="6858000"/>
                </a:lnTo>
                <a:lnTo>
                  <a:pt x="3589017" y="6858000"/>
                </a:lnTo>
                <a:lnTo>
                  <a:pt x="3301916" y="6858000"/>
                </a:lnTo>
                <a:lnTo>
                  <a:pt x="3023647" y="6858000"/>
                </a:lnTo>
                <a:lnTo>
                  <a:pt x="2982946" y="6858000"/>
                </a:lnTo>
                <a:lnTo>
                  <a:pt x="2630429" y="6858000"/>
                </a:lnTo>
                <a:lnTo>
                  <a:pt x="2342376" y="6858000"/>
                </a:lnTo>
                <a:lnTo>
                  <a:pt x="2242689" y="6858000"/>
                </a:lnTo>
                <a:lnTo>
                  <a:pt x="1818048" y="6858000"/>
                </a:lnTo>
                <a:lnTo>
                  <a:pt x="1612463" y="6858000"/>
                </a:lnTo>
                <a:lnTo>
                  <a:pt x="1354828" y="6858000"/>
                </a:lnTo>
                <a:lnTo>
                  <a:pt x="851353" y="6858000"/>
                </a:lnTo>
                <a:lnTo>
                  <a:pt x="832230" y="6858000"/>
                </a:lnTo>
                <a:lnTo>
                  <a:pt x="422719" y="6858000"/>
                </a:lnTo>
                <a:lnTo>
                  <a:pt x="30594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31000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1000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</p:spTree>
    <p:extLst>
      <p:ext uri="{BB962C8B-B14F-4D97-AF65-F5344CB8AC3E}">
        <p14:creationId xmlns:p14="http://schemas.microsoft.com/office/powerpoint/2010/main" val="319113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(Single R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47AB574-A04B-4C82-AD7B-EF95AA300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776" y="1321710"/>
            <a:ext cx="4967224" cy="4855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Text goes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009DFF-4241-4740-ABFB-69F34CB90D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4967224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919739B-51A2-4ADE-AAB0-76FE3337933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ltGray">
          <a:xfrm>
            <a:off x="6096001" y="0"/>
            <a:ext cx="6096001" cy="6858000"/>
          </a:xfrm>
          <a:custGeom>
            <a:avLst/>
            <a:gdLst>
              <a:gd name="connsiteX0" fmla="*/ 876629 w 6096001"/>
              <a:gd name="connsiteY0" fmla="*/ 0 h 6858000"/>
              <a:gd name="connsiteX1" fmla="*/ 1299348 w 6096001"/>
              <a:gd name="connsiteY1" fmla="*/ 0 h 6858000"/>
              <a:gd name="connsiteX2" fmla="*/ 1708858 w 6096001"/>
              <a:gd name="connsiteY2" fmla="*/ 0 h 6858000"/>
              <a:gd name="connsiteX3" fmla="*/ 2489091 w 6096001"/>
              <a:gd name="connsiteY3" fmla="*/ 0 h 6858000"/>
              <a:gd name="connsiteX4" fmla="*/ 3219004 w 6096001"/>
              <a:gd name="connsiteY4" fmla="*/ 0 h 6858000"/>
              <a:gd name="connsiteX5" fmla="*/ 3900275 w 6096001"/>
              <a:gd name="connsiteY5" fmla="*/ 0 h 6858000"/>
              <a:gd name="connsiteX6" fmla="*/ 4534581 w 6096001"/>
              <a:gd name="connsiteY6" fmla="*/ 0 h 6858000"/>
              <a:gd name="connsiteX7" fmla="*/ 5123599 w 6096001"/>
              <a:gd name="connsiteY7" fmla="*/ 0 h 6858000"/>
              <a:gd name="connsiteX8" fmla="*/ 5669007 w 6096001"/>
              <a:gd name="connsiteY8" fmla="*/ 0 h 6858000"/>
              <a:gd name="connsiteX9" fmla="*/ 6096001 w 6096001"/>
              <a:gd name="connsiteY9" fmla="*/ 0 h 6858000"/>
              <a:gd name="connsiteX10" fmla="*/ 6096001 w 6096001"/>
              <a:gd name="connsiteY10" fmla="*/ 6858000 h 6858000"/>
              <a:gd name="connsiteX11" fmla="*/ 5790054 w 6096001"/>
              <a:gd name="connsiteY11" fmla="*/ 6858000 h 6858000"/>
              <a:gd name="connsiteX12" fmla="*/ 5244646 w 6096001"/>
              <a:gd name="connsiteY12" fmla="*/ 6858000 h 6858000"/>
              <a:gd name="connsiteX13" fmla="*/ 4741171 w 6096001"/>
              <a:gd name="connsiteY13" fmla="*/ 6858000 h 6858000"/>
              <a:gd name="connsiteX14" fmla="*/ 4277951 w 6096001"/>
              <a:gd name="connsiteY14" fmla="*/ 6858000 h 6858000"/>
              <a:gd name="connsiteX15" fmla="*/ 3853310 w 6096001"/>
              <a:gd name="connsiteY15" fmla="*/ 6858000 h 6858000"/>
              <a:gd name="connsiteX16" fmla="*/ 3465570 w 6096001"/>
              <a:gd name="connsiteY16" fmla="*/ 6858000 h 6858000"/>
              <a:gd name="connsiteX17" fmla="*/ 3113053 w 6096001"/>
              <a:gd name="connsiteY17" fmla="*/ 6858000 h 6858000"/>
              <a:gd name="connsiteX18" fmla="*/ 2794083 w 6096001"/>
              <a:gd name="connsiteY18" fmla="*/ 6858000 h 6858000"/>
              <a:gd name="connsiteX19" fmla="*/ 2506982 w 6096001"/>
              <a:gd name="connsiteY19" fmla="*/ 6858000 h 6858000"/>
              <a:gd name="connsiteX20" fmla="*/ 2250073 w 6096001"/>
              <a:gd name="connsiteY20" fmla="*/ 6858000 h 6858000"/>
              <a:gd name="connsiteX21" fmla="*/ 2021678 w 6096001"/>
              <a:gd name="connsiteY21" fmla="*/ 6858000 h 6858000"/>
              <a:gd name="connsiteX22" fmla="*/ 1820120 w 6096001"/>
              <a:gd name="connsiteY22" fmla="*/ 6858000 h 6858000"/>
              <a:gd name="connsiteX23" fmla="*/ 1643723 w 6096001"/>
              <a:gd name="connsiteY23" fmla="*/ 6858000 h 6858000"/>
              <a:gd name="connsiteX24" fmla="*/ 1490807 w 6096001"/>
              <a:gd name="connsiteY24" fmla="*/ 6858000 h 6858000"/>
              <a:gd name="connsiteX25" fmla="*/ 1359697 w 6096001"/>
              <a:gd name="connsiteY25" fmla="*/ 6858000 h 6858000"/>
              <a:gd name="connsiteX26" fmla="*/ 1248714 w 6096001"/>
              <a:gd name="connsiteY26" fmla="*/ 6858000 h 6858000"/>
              <a:gd name="connsiteX27" fmla="*/ 1156182 w 6096001"/>
              <a:gd name="connsiteY27" fmla="*/ 6858000 h 6858000"/>
              <a:gd name="connsiteX28" fmla="*/ 1080423 w 6096001"/>
              <a:gd name="connsiteY28" fmla="*/ 6858000 h 6858000"/>
              <a:gd name="connsiteX29" fmla="*/ 1019760 w 6096001"/>
              <a:gd name="connsiteY29" fmla="*/ 6858000 h 6858000"/>
              <a:gd name="connsiteX30" fmla="*/ 972516 w 6096001"/>
              <a:gd name="connsiteY30" fmla="*/ 6858000 h 6858000"/>
              <a:gd name="connsiteX31" fmla="*/ 937013 w 6096001"/>
              <a:gd name="connsiteY31" fmla="*/ 6858000 h 6858000"/>
              <a:gd name="connsiteX32" fmla="*/ 894520 w 6096001"/>
              <a:gd name="connsiteY32" fmla="*/ 6858000 h 6858000"/>
              <a:gd name="connsiteX33" fmla="*/ 878865 w 6096001"/>
              <a:gd name="connsiteY33" fmla="*/ 6858000 h 6858000"/>
              <a:gd name="connsiteX34" fmla="*/ 876629 w 6096001"/>
              <a:gd name="connsiteY34" fmla="*/ 6858000 h 6858000"/>
              <a:gd name="connsiteX35" fmla="*/ 0 w 6096001"/>
              <a:gd name="connsiteY35" fmla="*/ 3429000 h 6858000"/>
              <a:gd name="connsiteX36" fmla="*/ 876629 w 6096001"/>
              <a:gd name="connsiteY3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96001" h="6858000">
                <a:moveTo>
                  <a:pt x="876629" y="0"/>
                </a:moveTo>
                <a:lnTo>
                  <a:pt x="1299348" y="0"/>
                </a:lnTo>
                <a:lnTo>
                  <a:pt x="1708858" y="0"/>
                </a:lnTo>
                <a:lnTo>
                  <a:pt x="2489091" y="0"/>
                </a:lnTo>
                <a:lnTo>
                  <a:pt x="3219004" y="0"/>
                </a:lnTo>
                <a:lnTo>
                  <a:pt x="3900275" y="0"/>
                </a:lnTo>
                <a:lnTo>
                  <a:pt x="4534581" y="0"/>
                </a:lnTo>
                <a:lnTo>
                  <a:pt x="5123599" y="0"/>
                </a:lnTo>
                <a:lnTo>
                  <a:pt x="5669007" y="0"/>
                </a:lnTo>
                <a:lnTo>
                  <a:pt x="6096001" y="0"/>
                </a:lnTo>
                <a:lnTo>
                  <a:pt x="6096001" y="6858000"/>
                </a:lnTo>
                <a:lnTo>
                  <a:pt x="5790054" y="6858000"/>
                </a:lnTo>
                <a:lnTo>
                  <a:pt x="5244646" y="6858000"/>
                </a:lnTo>
                <a:lnTo>
                  <a:pt x="4741171" y="6858000"/>
                </a:lnTo>
                <a:lnTo>
                  <a:pt x="4277951" y="6858000"/>
                </a:lnTo>
                <a:lnTo>
                  <a:pt x="3853310" y="6858000"/>
                </a:lnTo>
                <a:lnTo>
                  <a:pt x="3465570" y="6858000"/>
                </a:lnTo>
                <a:lnTo>
                  <a:pt x="3113053" y="6858000"/>
                </a:lnTo>
                <a:lnTo>
                  <a:pt x="2794083" y="6858000"/>
                </a:lnTo>
                <a:lnTo>
                  <a:pt x="2506982" y="6858000"/>
                </a:lnTo>
                <a:lnTo>
                  <a:pt x="2250073" y="6858000"/>
                </a:lnTo>
                <a:lnTo>
                  <a:pt x="2021678" y="6858000"/>
                </a:lnTo>
                <a:lnTo>
                  <a:pt x="1820120" y="6858000"/>
                </a:lnTo>
                <a:lnTo>
                  <a:pt x="1643723" y="6858000"/>
                </a:lnTo>
                <a:lnTo>
                  <a:pt x="1490807" y="6858000"/>
                </a:lnTo>
                <a:lnTo>
                  <a:pt x="1359697" y="6858000"/>
                </a:lnTo>
                <a:lnTo>
                  <a:pt x="1248714" y="6858000"/>
                </a:lnTo>
                <a:lnTo>
                  <a:pt x="1156182" y="6858000"/>
                </a:lnTo>
                <a:lnTo>
                  <a:pt x="1080423" y="6858000"/>
                </a:lnTo>
                <a:lnTo>
                  <a:pt x="1019760" y="6858000"/>
                </a:lnTo>
                <a:lnTo>
                  <a:pt x="972516" y="6858000"/>
                </a:lnTo>
                <a:lnTo>
                  <a:pt x="937013" y="6858000"/>
                </a:lnTo>
                <a:lnTo>
                  <a:pt x="894520" y="6858000"/>
                </a:lnTo>
                <a:lnTo>
                  <a:pt x="878865" y="6858000"/>
                </a:lnTo>
                <a:lnTo>
                  <a:pt x="876629" y="6858000"/>
                </a:lnTo>
                <a:cubicBezTo>
                  <a:pt x="317919" y="5839430"/>
                  <a:pt x="0" y="4671731"/>
                  <a:pt x="0" y="3429000"/>
                </a:cubicBezTo>
                <a:cubicBezTo>
                  <a:pt x="0" y="2187207"/>
                  <a:pt x="317919" y="1018571"/>
                  <a:pt x="876629" y="0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vert="horz" wrap="square" lIns="1005840" tIns="0" rIns="0" bIns="0" rtlCol="0">
            <a:noAutofit/>
          </a:bodyPr>
          <a:lstStyle>
            <a:lvl1pPr>
              <a:defRPr lang="en-US" dirty="0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146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(Multi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6F15D45E-1A29-46E9-B58E-872FED8D000F}"/>
              </a:ext>
            </a:extLst>
          </p:cNvPr>
          <p:cNvSpPr/>
          <p:nvPr userDrawn="1"/>
        </p:nvSpPr>
        <p:spPr bwMode="ltGray">
          <a:xfrm>
            <a:off x="742098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81DC18-66F7-491B-8089-60DD8E1AB1AA}"/>
              </a:ext>
            </a:extLst>
          </p:cNvPr>
          <p:cNvSpPr/>
          <p:nvPr userDrawn="1"/>
        </p:nvSpPr>
        <p:spPr bwMode="ltGray">
          <a:xfrm>
            <a:off x="4555746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5A85B8-9A99-4F3C-933A-121390A9334B}"/>
              </a:ext>
            </a:extLst>
          </p:cNvPr>
          <p:cNvSpPr/>
          <p:nvPr userDrawn="1"/>
        </p:nvSpPr>
        <p:spPr bwMode="ltGray">
          <a:xfrm>
            <a:off x="8369394" y="1457722"/>
            <a:ext cx="3080508" cy="3080508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CA44ADC-5231-43AF-906E-A8DDA719957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72652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ECE4A802-C7F3-4538-B1FB-98E6F612765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86300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5B525A51-4DF4-42AF-82A8-0F5A36D8AA4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99948" y="1588308"/>
            <a:ext cx="2819400" cy="2820998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7BFF989-2765-4A09-8AE8-E2ACBBE59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736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1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91C01F98-B49B-4B32-B1BB-B41E8EA15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2663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2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FC7C06E5-7271-4B89-AB80-DD09B51F8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6310" y="4866948"/>
            <a:ext cx="2606675" cy="1019175"/>
          </a:xfr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3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F8D4E7B-DD8A-4462-A940-F3A1029BC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6D966-50E4-4144-82A3-60717BEFC2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E266DFD-040A-4C14-9640-CEEDD94BCA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3908415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with Body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F289E38-44F5-4D8D-9EE0-619201D57247}"/>
              </a:ext>
            </a:extLst>
          </p:cNvPr>
          <p:cNvSpPr/>
          <p:nvPr userDrawn="1"/>
        </p:nvSpPr>
        <p:spPr bwMode="white">
          <a:xfrm>
            <a:off x="0" y="6249122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640C6A-CF77-4953-9AD6-63845305FE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6580124" cy="89797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5662183-DD4B-4458-ABD2-C710415E28ED}"/>
              </a:ext>
            </a:extLst>
          </p:cNvPr>
          <p:cNvSpPr/>
          <p:nvPr userDrawn="1"/>
        </p:nvSpPr>
        <p:spPr bwMode="ltGray">
          <a:xfrm>
            <a:off x="7244184" y="647700"/>
            <a:ext cx="7710066" cy="7710066"/>
          </a:xfrm>
          <a:prstGeom prst="ellipse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B6EFA928-550A-425C-9E54-627E2710A1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73517" y="1375262"/>
            <a:ext cx="6251400" cy="625494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A5E399-4DEC-4925-BE64-4EBC5F4C64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FD2725-2034-48A2-8BB6-47D844A186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3776" y="1306513"/>
            <a:ext cx="5741924" cy="48704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49324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E963FA91-2E8D-4668-A0A8-B78EA30819AA}"/>
              </a:ext>
            </a:extLst>
          </p:cNvPr>
          <p:cNvSpPr>
            <a:spLocks noEditPoints="1"/>
          </p:cNvSpPr>
          <p:nvPr userDrawn="1"/>
        </p:nvSpPr>
        <p:spPr bwMode="ltGray">
          <a:xfrm>
            <a:off x="2050147" y="0"/>
            <a:ext cx="8091707" cy="6858000"/>
          </a:xfrm>
          <a:custGeom>
            <a:avLst/>
            <a:gdLst>
              <a:gd name="T0" fmla="*/ 1079 w 3392"/>
              <a:gd name="T1" fmla="*/ 2884 h 2884"/>
              <a:gd name="T2" fmla="*/ 803 w 3392"/>
              <a:gd name="T3" fmla="*/ 2884 h 2884"/>
              <a:gd name="T4" fmla="*/ 0 w 3392"/>
              <a:gd name="T5" fmla="*/ 1442 h 2884"/>
              <a:gd name="T6" fmla="*/ 803 w 3392"/>
              <a:gd name="T7" fmla="*/ 0 h 2884"/>
              <a:gd name="T8" fmla="*/ 1079 w 3392"/>
              <a:gd name="T9" fmla="*/ 0 h 2884"/>
              <a:gd name="T10" fmla="*/ 128 w 3392"/>
              <a:gd name="T11" fmla="*/ 1442 h 2884"/>
              <a:gd name="T12" fmla="*/ 1079 w 3392"/>
              <a:gd name="T13" fmla="*/ 2884 h 2884"/>
              <a:gd name="T14" fmla="*/ 3264 w 3392"/>
              <a:gd name="T15" fmla="*/ 1442 h 2884"/>
              <a:gd name="T16" fmla="*/ 2313 w 3392"/>
              <a:gd name="T17" fmla="*/ 2884 h 2884"/>
              <a:gd name="T18" fmla="*/ 2589 w 3392"/>
              <a:gd name="T19" fmla="*/ 2884 h 2884"/>
              <a:gd name="T20" fmla="*/ 3392 w 3392"/>
              <a:gd name="T21" fmla="*/ 1442 h 2884"/>
              <a:gd name="T22" fmla="*/ 2589 w 3392"/>
              <a:gd name="T23" fmla="*/ 0 h 2884"/>
              <a:gd name="T24" fmla="*/ 2313 w 3392"/>
              <a:gd name="T25" fmla="*/ 0 h 2884"/>
              <a:gd name="T26" fmla="*/ 3264 w 3392"/>
              <a:gd name="T27" fmla="*/ 1442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392" h="2884">
                <a:moveTo>
                  <a:pt x="1079" y="2884"/>
                </a:moveTo>
                <a:cubicBezTo>
                  <a:pt x="803" y="2884"/>
                  <a:pt x="803" y="2884"/>
                  <a:pt x="803" y="2884"/>
                </a:cubicBezTo>
                <a:cubicBezTo>
                  <a:pt x="321" y="2585"/>
                  <a:pt x="0" y="2051"/>
                  <a:pt x="0" y="1442"/>
                </a:cubicBezTo>
                <a:cubicBezTo>
                  <a:pt x="0" y="833"/>
                  <a:pt x="321" y="299"/>
                  <a:pt x="803" y="0"/>
                </a:cubicBezTo>
                <a:cubicBezTo>
                  <a:pt x="1079" y="0"/>
                  <a:pt x="1079" y="0"/>
                  <a:pt x="1079" y="0"/>
                </a:cubicBezTo>
                <a:cubicBezTo>
                  <a:pt x="520" y="240"/>
                  <a:pt x="128" y="795"/>
                  <a:pt x="128" y="1442"/>
                </a:cubicBezTo>
                <a:cubicBezTo>
                  <a:pt x="128" y="2089"/>
                  <a:pt x="520" y="2644"/>
                  <a:pt x="1079" y="2884"/>
                </a:cubicBezTo>
                <a:close/>
                <a:moveTo>
                  <a:pt x="3264" y="1442"/>
                </a:moveTo>
                <a:cubicBezTo>
                  <a:pt x="3264" y="2089"/>
                  <a:pt x="2872" y="2644"/>
                  <a:pt x="2313" y="2884"/>
                </a:cubicBezTo>
                <a:cubicBezTo>
                  <a:pt x="2589" y="2884"/>
                  <a:pt x="2589" y="2884"/>
                  <a:pt x="2589" y="2884"/>
                </a:cubicBezTo>
                <a:cubicBezTo>
                  <a:pt x="3071" y="2585"/>
                  <a:pt x="3392" y="2051"/>
                  <a:pt x="3392" y="1442"/>
                </a:cubicBezTo>
                <a:cubicBezTo>
                  <a:pt x="3392" y="833"/>
                  <a:pt x="3071" y="299"/>
                  <a:pt x="2589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872" y="240"/>
                  <a:pt x="3264" y="795"/>
                  <a:pt x="3264" y="1442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B9D677F4-4749-47B1-8AFA-DFA6D872EF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93257" y="2004515"/>
            <a:ext cx="7605486" cy="284897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152396" indent="-152396" algn="ctr" defTabSz="914377" rtl="0" eaLnBrk="0" fontAlgn="base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SzPct val="100000"/>
              <a:buNone/>
              <a:defRPr lang="en-US" sz="6000" b="0" i="0" kern="1200" baseline="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  <a:sym typeface="Proxima Nova" charset="0"/>
              </a:defRPr>
            </a:lvl1pPr>
            <a:lvl2pPr marL="171445" marR="0" indent="0" algn="l" defTabSz="914377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Placehold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2602FE-8B27-4067-87FB-0DAB3C428E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499" y="6051007"/>
            <a:ext cx="955343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799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lid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1264036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 Background">
    <p:bg>
      <p:bgPr>
        <a:gradFill>
          <a:gsLst>
            <a:gs pos="0">
              <a:srgbClr val="009AE0"/>
            </a:gs>
            <a:gs pos="100000">
              <a:srgbClr val="00A846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6" y="2632367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300" indent="-114300" algn="l" defTabSz="685800" rtl="0" eaLnBrk="0" fontAlgn="base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87" marR="0" indent="0" algn="l" defTabSz="685800" rtl="0" eaLnBrk="0" fontAlgn="base" latinLnBrk="0" hangingPunct="0">
              <a:lnSpc>
                <a:spcPct val="90000"/>
              </a:lnSpc>
              <a:spcBef>
                <a:spcPts val="135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Text goes here.</a:t>
            </a:r>
          </a:p>
        </p:txBody>
      </p:sp>
    </p:spTree>
    <p:extLst>
      <p:ext uri="{BB962C8B-B14F-4D97-AF65-F5344CB8AC3E}">
        <p14:creationId xmlns:p14="http://schemas.microsoft.com/office/powerpoint/2010/main" val="322556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AF9195B-6ED2-49AC-9218-522143C81B76}"/>
              </a:ext>
            </a:extLst>
          </p:cNvPr>
          <p:cNvSpPr/>
          <p:nvPr userDrawn="1"/>
        </p:nvSpPr>
        <p:spPr bwMode="ltGray">
          <a:xfrm>
            <a:off x="1368552" y="0"/>
            <a:ext cx="9454896" cy="6858000"/>
          </a:xfrm>
          <a:custGeom>
            <a:avLst/>
            <a:gdLst>
              <a:gd name="connsiteX0" fmla="*/ 1475039 w 9454896"/>
              <a:gd name="connsiteY0" fmla="*/ 0 h 6858000"/>
              <a:gd name="connsiteX1" fmla="*/ 7979857 w 9454896"/>
              <a:gd name="connsiteY1" fmla="*/ 0 h 6858000"/>
              <a:gd name="connsiteX2" fmla="*/ 8070258 w 9454896"/>
              <a:gd name="connsiteY2" fmla="*/ 86190 h 6858000"/>
              <a:gd name="connsiteX3" fmla="*/ 9454896 w 9454896"/>
              <a:gd name="connsiteY3" fmla="*/ 3429000 h 6858000"/>
              <a:gd name="connsiteX4" fmla="*/ 8070258 w 9454896"/>
              <a:gd name="connsiteY4" fmla="*/ 6771811 h 6858000"/>
              <a:gd name="connsiteX5" fmla="*/ 7979857 w 9454896"/>
              <a:gd name="connsiteY5" fmla="*/ 6858000 h 6858000"/>
              <a:gd name="connsiteX6" fmla="*/ 1475039 w 9454896"/>
              <a:gd name="connsiteY6" fmla="*/ 6858000 h 6858000"/>
              <a:gd name="connsiteX7" fmla="*/ 1384638 w 9454896"/>
              <a:gd name="connsiteY7" fmla="*/ 6771811 h 6858000"/>
              <a:gd name="connsiteX8" fmla="*/ 0 w 9454896"/>
              <a:gd name="connsiteY8" fmla="*/ 3429000 h 6858000"/>
              <a:gd name="connsiteX9" fmla="*/ 1384638 w 9454896"/>
              <a:gd name="connsiteY9" fmla="*/ 86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454896" h="6858000">
                <a:moveTo>
                  <a:pt x="1475039" y="0"/>
                </a:moveTo>
                <a:lnTo>
                  <a:pt x="7979857" y="0"/>
                </a:lnTo>
                <a:lnTo>
                  <a:pt x="8070258" y="86190"/>
                </a:lnTo>
                <a:cubicBezTo>
                  <a:pt x="8925758" y="941690"/>
                  <a:pt x="9454896" y="2123552"/>
                  <a:pt x="9454896" y="3429000"/>
                </a:cubicBezTo>
                <a:cubicBezTo>
                  <a:pt x="9454896" y="4734449"/>
                  <a:pt x="8925758" y="5916311"/>
                  <a:pt x="8070258" y="6771811"/>
                </a:cubicBezTo>
                <a:lnTo>
                  <a:pt x="7979857" y="6858000"/>
                </a:lnTo>
                <a:lnTo>
                  <a:pt x="1475039" y="6858000"/>
                </a:lnTo>
                <a:lnTo>
                  <a:pt x="1384638" y="6771811"/>
                </a:lnTo>
                <a:cubicBezTo>
                  <a:pt x="529138" y="5916311"/>
                  <a:pt x="0" y="4734449"/>
                  <a:pt x="0" y="3429000"/>
                </a:cubicBezTo>
                <a:cubicBezTo>
                  <a:pt x="0" y="2123552"/>
                  <a:pt x="529138" y="941690"/>
                  <a:pt x="1384638" y="86190"/>
                </a:cubicBezTo>
                <a:close/>
              </a:path>
            </a:pathLst>
          </a:cu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err="1">
              <a:sym typeface="Proxima Nova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7E50BA-27C6-47D2-8515-4845557F9C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3073"/>
          <a:stretch/>
        </p:blipFill>
        <p:spPr>
          <a:xfrm>
            <a:off x="3505200" y="4006850"/>
            <a:ext cx="5181600" cy="67437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4CFA054-C297-450A-BC45-93D0177700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42937"/>
          <a:stretch/>
        </p:blipFill>
        <p:spPr>
          <a:xfrm>
            <a:off x="3457758" y="2176554"/>
            <a:ext cx="5257800" cy="1442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875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">
    <p:bg>
      <p:bgPr>
        <a:solidFill>
          <a:srgbClr val="FC93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D05C3-B4E4-435F-A620-EDB17198F734}"/>
              </a:ext>
            </a:extLst>
          </p:cNvPr>
          <p:cNvSpPr txBox="1">
            <a:spLocks/>
          </p:cNvSpPr>
          <p:nvPr userDrawn="1"/>
        </p:nvSpPr>
        <p:spPr>
          <a:xfrm>
            <a:off x="838200" y="2587724"/>
            <a:ext cx="10515600" cy="1716419"/>
          </a:xfrm>
          <a:prstGeom prst="rect">
            <a:avLst/>
          </a:prstGeom>
        </p:spPr>
        <p:txBody>
          <a:bodyPr vert="horz" lIns="0" tIns="121920" rIns="0" bIns="0" rtlCol="0" anchor="ctr">
            <a:noAutofit/>
          </a:bodyPr>
          <a:lstStyle>
            <a:lvl1pPr algn="ctr" defTabSz="685800" rtl="0" eaLnBrk="0" fontAlgn="base" hangingPunct="0">
              <a:lnSpc>
                <a:spcPct val="68000"/>
              </a:lnSpc>
              <a:spcBef>
                <a:spcPct val="0"/>
              </a:spcBef>
              <a:spcAft>
                <a:spcPct val="0"/>
              </a:spcAft>
              <a:defRPr kumimoji="0" lang="en-US" sz="32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1714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3429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5143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6858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4267"/>
              <a:t>any masters that appear after this warning are </a:t>
            </a:r>
            <a:r>
              <a:rPr lang="en-US" sz="4267">
                <a:solidFill>
                  <a:srgbClr val="CD0000"/>
                </a:solidFill>
              </a:rPr>
              <a:t>rogue layouts </a:t>
            </a:r>
            <a:br>
              <a:rPr lang="en-US" sz="4267">
                <a:solidFill>
                  <a:srgbClr val="F9451B"/>
                </a:solidFill>
              </a:rPr>
            </a:br>
            <a:r>
              <a:rPr lang="en-US" sz="4267"/>
              <a:t>and should be deleted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525B98F-982E-4377-912F-012B18901CDD}"/>
              </a:ext>
            </a:extLst>
          </p:cNvPr>
          <p:cNvSpPr>
            <a:spLocks/>
          </p:cNvSpPr>
          <p:nvPr userDrawn="1"/>
        </p:nvSpPr>
        <p:spPr bwMode="invGray">
          <a:xfrm rot="10800000">
            <a:off x="5815727" y="4750775"/>
            <a:ext cx="558432" cy="411210"/>
          </a:xfrm>
          <a:custGeom>
            <a:avLst/>
            <a:gdLst>
              <a:gd name="T0" fmla="*/ 14 w 237"/>
              <a:gd name="T1" fmla="*/ 195 h 197"/>
              <a:gd name="T2" fmla="*/ 8 w 237"/>
              <a:gd name="T3" fmla="*/ 194 h 197"/>
              <a:gd name="T4" fmla="*/ 3 w 237"/>
              <a:gd name="T5" fmla="*/ 177 h 197"/>
              <a:gd name="T6" fmla="*/ 99 w 237"/>
              <a:gd name="T7" fmla="*/ 12 h 197"/>
              <a:gd name="T8" fmla="*/ 119 w 237"/>
              <a:gd name="T9" fmla="*/ 0 h 197"/>
              <a:gd name="T10" fmla="*/ 138 w 237"/>
              <a:gd name="T11" fmla="*/ 12 h 197"/>
              <a:gd name="T12" fmla="*/ 234 w 237"/>
              <a:gd name="T13" fmla="*/ 177 h 197"/>
              <a:gd name="T14" fmla="*/ 230 w 237"/>
              <a:gd name="T15" fmla="*/ 194 h 197"/>
              <a:gd name="T16" fmla="*/ 213 w 237"/>
              <a:gd name="T17" fmla="*/ 189 h 197"/>
              <a:gd name="T18" fmla="*/ 119 w 237"/>
              <a:gd name="T19" fmla="*/ 26 h 197"/>
              <a:gd name="T20" fmla="*/ 24 w 237"/>
              <a:gd name="T21" fmla="*/ 189 h 197"/>
              <a:gd name="T22" fmla="*/ 14 w 237"/>
              <a:gd name="T23" fmla="*/ 19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7" h="197">
                <a:moveTo>
                  <a:pt x="14" y="195"/>
                </a:moveTo>
                <a:cubicBezTo>
                  <a:pt x="12" y="195"/>
                  <a:pt x="10" y="195"/>
                  <a:pt x="8" y="194"/>
                </a:cubicBezTo>
                <a:cubicBezTo>
                  <a:pt x="2" y="191"/>
                  <a:pt x="0" y="183"/>
                  <a:pt x="3" y="177"/>
                </a:cubicBezTo>
                <a:cubicBezTo>
                  <a:pt x="99" y="12"/>
                  <a:pt x="99" y="12"/>
                  <a:pt x="99" y="12"/>
                </a:cubicBezTo>
                <a:cubicBezTo>
                  <a:pt x="103" y="4"/>
                  <a:pt x="111" y="0"/>
                  <a:pt x="119" y="0"/>
                </a:cubicBezTo>
                <a:cubicBezTo>
                  <a:pt x="127" y="0"/>
                  <a:pt x="134" y="4"/>
                  <a:pt x="138" y="12"/>
                </a:cubicBezTo>
                <a:cubicBezTo>
                  <a:pt x="234" y="177"/>
                  <a:pt x="234" y="177"/>
                  <a:pt x="234" y="177"/>
                </a:cubicBezTo>
                <a:cubicBezTo>
                  <a:pt x="237" y="183"/>
                  <a:pt x="235" y="191"/>
                  <a:pt x="230" y="194"/>
                </a:cubicBezTo>
                <a:cubicBezTo>
                  <a:pt x="224" y="197"/>
                  <a:pt x="217" y="195"/>
                  <a:pt x="213" y="189"/>
                </a:cubicBezTo>
                <a:cubicBezTo>
                  <a:pt x="119" y="26"/>
                  <a:pt x="119" y="26"/>
                  <a:pt x="119" y="26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22" y="193"/>
                  <a:pt x="18" y="195"/>
                  <a:pt x="14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BD83303-64DB-4155-A239-5D0D737F0B38}"/>
              </a:ext>
            </a:extLst>
          </p:cNvPr>
          <p:cNvGrpSpPr/>
          <p:nvPr userDrawn="1"/>
        </p:nvGrpSpPr>
        <p:grpSpPr bwMode="black">
          <a:xfrm>
            <a:off x="5655735" y="1357760"/>
            <a:ext cx="880533" cy="783331"/>
            <a:chOff x="5046133" y="896938"/>
            <a:chExt cx="733425" cy="652463"/>
          </a:xfrm>
          <a:solidFill>
            <a:srgbClr val="FFFFFF"/>
          </a:solidFill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109598A-4181-46AD-B31A-AE565CFA82A7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046133" y="896938"/>
              <a:ext cx="733425" cy="652463"/>
            </a:xfrm>
            <a:custGeom>
              <a:avLst/>
              <a:gdLst>
                <a:gd name="T0" fmla="*/ 187 w 374"/>
                <a:gd name="T1" fmla="*/ 24 h 332"/>
                <a:gd name="T2" fmla="*/ 201 w 374"/>
                <a:gd name="T3" fmla="*/ 32 h 332"/>
                <a:gd name="T4" fmla="*/ 346 w 374"/>
                <a:gd name="T5" fmla="*/ 284 h 332"/>
                <a:gd name="T6" fmla="*/ 332 w 374"/>
                <a:gd name="T7" fmla="*/ 308 h 332"/>
                <a:gd name="T8" fmla="*/ 42 w 374"/>
                <a:gd name="T9" fmla="*/ 308 h 332"/>
                <a:gd name="T10" fmla="*/ 28 w 374"/>
                <a:gd name="T11" fmla="*/ 284 h 332"/>
                <a:gd name="T12" fmla="*/ 173 w 374"/>
                <a:gd name="T13" fmla="*/ 32 h 332"/>
                <a:gd name="T14" fmla="*/ 187 w 374"/>
                <a:gd name="T15" fmla="*/ 24 h 332"/>
                <a:gd name="T16" fmla="*/ 187 w 374"/>
                <a:gd name="T17" fmla="*/ 0 h 332"/>
                <a:gd name="T18" fmla="*/ 152 w 374"/>
                <a:gd name="T19" fmla="*/ 20 h 332"/>
                <a:gd name="T20" fmla="*/ 7 w 374"/>
                <a:gd name="T21" fmla="*/ 272 h 332"/>
                <a:gd name="T22" fmla="*/ 7 w 374"/>
                <a:gd name="T23" fmla="*/ 312 h 332"/>
                <a:gd name="T24" fmla="*/ 42 w 374"/>
                <a:gd name="T25" fmla="*/ 332 h 332"/>
                <a:gd name="T26" fmla="*/ 332 w 374"/>
                <a:gd name="T27" fmla="*/ 332 h 332"/>
                <a:gd name="T28" fmla="*/ 367 w 374"/>
                <a:gd name="T29" fmla="*/ 312 h 332"/>
                <a:gd name="T30" fmla="*/ 367 w 374"/>
                <a:gd name="T31" fmla="*/ 272 h 332"/>
                <a:gd name="T32" fmla="*/ 222 w 374"/>
                <a:gd name="T33" fmla="*/ 20 h 332"/>
                <a:gd name="T34" fmla="*/ 187 w 374"/>
                <a:gd name="T3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" h="332">
                  <a:moveTo>
                    <a:pt x="187" y="24"/>
                  </a:moveTo>
                  <a:cubicBezTo>
                    <a:pt x="192" y="24"/>
                    <a:pt x="198" y="27"/>
                    <a:pt x="201" y="32"/>
                  </a:cubicBezTo>
                  <a:cubicBezTo>
                    <a:pt x="346" y="284"/>
                    <a:pt x="346" y="284"/>
                    <a:pt x="346" y="284"/>
                  </a:cubicBezTo>
                  <a:cubicBezTo>
                    <a:pt x="352" y="294"/>
                    <a:pt x="344" y="308"/>
                    <a:pt x="332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29" y="308"/>
                    <a:pt x="21" y="294"/>
                    <a:pt x="28" y="284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6" y="27"/>
                    <a:pt x="181" y="24"/>
                    <a:pt x="187" y="24"/>
                  </a:cubicBezTo>
                  <a:moveTo>
                    <a:pt x="187" y="0"/>
                  </a:moveTo>
                  <a:cubicBezTo>
                    <a:pt x="172" y="0"/>
                    <a:pt x="159" y="8"/>
                    <a:pt x="152" y="20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0" y="284"/>
                    <a:pt x="0" y="299"/>
                    <a:pt x="7" y="312"/>
                  </a:cubicBezTo>
                  <a:cubicBezTo>
                    <a:pt x="14" y="324"/>
                    <a:pt x="27" y="332"/>
                    <a:pt x="42" y="332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46" y="332"/>
                    <a:pt x="359" y="324"/>
                    <a:pt x="367" y="312"/>
                  </a:cubicBezTo>
                  <a:cubicBezTo>
                    <a:pt x="374" y="299"/>
                    <a:pt x="374" y="284"/>
                    <a:pt x="367" y="272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14" y="8"/>
                    <a:pt x="201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E0C7EED-60F5-4F6C-91A7-D4CFB8BCAEDD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381096" y="1139826"/>
              <a:ext cx="61913" cy="261938"/>
            </a:xfrm>
            <a:custGeom>
              <a:avLst/>
              <a:gdLst>
                <a:gd name="T0" fmla="*/ 16 w 32"/>
                <a:gd name="T1" fmla="*/ 101 h 133"/>
                <a:gd name="T2" fmla="*/ 32 w 32"/>
                <a:gd name="T3" fmla="*/ 117 h 133"/>
                <a:gd name="T4" fmla="*/ 16 w 32"/>
                <a:gd name="T5" fmla="*/ 133 h 133"/>
                <a:gd name="T6" fmla="*/ 0 w 32"/>
                <a:gd name="T7" fmla="*/ 117 h 133"/>
                <a:gd name="T8" fmla="*/ 16 w 32"/>
                <a:gd name="T9" fmla="*/ 101 h 133"/>
                <a:gd name="T10" fmla="*/ 1 w 32"/>
                <a:gd name="T11" fmla="*/ 0 h 133"/>
                <a:gd name="T12" fmla="*/ 31 w 32"/>
                <a:gd name="T13" fmla="*/ 0 h 133"/>
                <a:gd name="T14" fmla="*/ 27 w 32"/>
                <a:gd name="T15" fmla="*/ 88 h 133"/>
                <a:gd name="T16" fmla="*/ 5 w 32"/>
                <a:gd name="T17" fmla="*/ 88 h 133"/>
                <a:gd name="T18" fmla="*/ 1 w 32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33">
                  <a:moveTo>
                    <a:pt x="16" y="101"/>
                  </a:moveTo>
                  <a:cubicBezTo>
                    <a:pt x="24" y="101"/>
                    <a:pt x="32" y="108"/>
                    <a:pt x="32" y="117"/>
                  </a:cubicBezTo>
                  <a:cubicBezTo>
                    <a:pt x="32" y="125"/>
                    <a:pt x="24" y="133"/>
                    <a:pt x="16" y="133"/>
                  </a:cubicBezTo>
                  <a:cubicBezTo>
                    <a:pt x="7" y="133"/>
                    <a:pt x="0" y="125"/>
                    <a:pt x="0" y="117"/>
                  </a:cubicBezTo>
                  <a:cubicBezTo>
                    <a:pt x="0" y="108"/>
                    <a:pt x="7" y="101"/>
                    <a:pt x="16" y="101"/>
                  </a:cubicBezTo>
                  <a:close/>
                  <a:moveTo>
                    <a:pt x="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5" y="88"/>
                    <a:pt x="5" y="88"/>
                    <a:pt x="5" y="8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803363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520056-086C-455F-928B-81F52F8BE721}"/>
              </a:ext>
            </a:extLst>
          </p:cNvPr>
          <p:cNvSpPr/>
          <p:nvPr userDrawn="1"/>
        </p:nvSpPr>
        <p:spPr bwMode="ltGray">
          <a:xfrm>
            <a:off x="0" y="2308250"/>
            <a:ext cx="12192000" cy="2241500"/>
          </a:xfrm>
          <a:prstGeom prst="rect">
            <a:avLst/>
          </a:pr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FEAD26-BB58-4888-8067-7BFE8907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08250"/>
            <a:ext cx="11204448" cy="2241500"/>
          </a:xfrm>
        </p:spPr>
        <p:txBody>
          <a:bodyPr vert="horz" lIns="457200" tIns="0" rIns="457200" bIns="0" rtlCol="0" anchor="ctr">
            <a:noAutofit/>
          </a:bodyPr>
          <a:lstStyle>
            <a:lvl1pPr algn="ctr">
              <a:defRPr lang="en-US" sz="600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FC8F7FF-631E-461B-BBD2-0C1C1D0FDA54}"/>
              </a:ext>
            </a:extLst>
          </p:cNvPr>
          <p:cNvSpPr/>
          <p:nvPr userDrawn="1"/>
        </p:nvSpPr>
        <p:spPr bwMode="white">
          <a:xfrm>
            <a:off x="132899" y="6218787"/>
            <a:ext cx="12078601" cy="477424"/>
          </a:xfrm>
          <a:custGeom>
            <a:avLst/>
            <a:gdLst>
              <a:gd name="connsiteX0" fmla="*/ 0 w 12078601"/>
              <a:gd name="connsiteY0" fmla="*/ 0 h 477424"/>
              <a:gd name="connsiteX1" fmla="*/ 11926202 w 12078601"/>
              <a:gd name="connsiteY1" fmla="*/ 0 h 477424"/>
              <a:gd name="connsiteX2" fmla="*/ 11926202 w 12078601"/>
              <a:gd name="connsiteY2" fmla="*/ 152400 h 477424"/>
              <a:gd name="connsiteX3" fmla="*/ 12078601 w 12078601"/>
              <a:gd name="connsiteY3" fmla="*/ 152400 h 477424"/>
              <a:gd name="connsiteX4" fmla="*/ 12078601 w 12078601"/>
              <a:gd name="connsiteY4" fmla="*/ 477424 h 477424"/>
              <a:gd name="connsiteX5" fmla="*/ 9582600 w 12078601"/>
              <a:gd name="connsiteY5" fmla="*/ 477424 h 477424"/>
              <a:gd name="connsiteX6" fmla="*/ 9582600 w 12078601"/>
              <a:gd name="connsiteY6" fmla="*/ 325024 h 477424"/>
              <a:gd name="connsiteX7" fmla="*/ 0 w 12078601"/>
              <a:gd name="connsiteY7" fmla="*/ 325024 h 477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8601" h="477424">
                <a:moveTo>
                  <a:pt x="0" y="0"/>
                </a:moveTo>
                <a:lnTo>
                  <a:pt x="11926202" y="0"/>
                </a:lnTo>
                <a:lnTo>
                  <a:pt x="11926202" y="152400"/>
                </a:lnTo>
                <a:lnTo>
                  <a:pt x="12078601" y="152400"/>
                </a:lnTo>
                <a:lnTo>
                  <a:pt x="12078601" y="477424"/>
                </a:lnTo>
                <a:lnTo>
                  <a:pt x="9582600" y="477424"/>
                </a:lnTo>
                <a:lnTo>
                  <a:pt x="9582600" y="325024"/>
                </a:lnTo>
                <a:lnTo>
                  <a:pt x="0" y="3250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679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for Printing)">
    <p:bg bwMode="ltGray">
      <p:bgPr>
        <a:gradFill>
          <a:gsLst>
            <a:gs pos="71000">
              <a:srgbClr val="0074C0"/>
            </a:gs>
            <a:gs pos="23000">
              <a:srgbClr val="00B3F4"/>
            </a:gs>
            <a:gs pos="99000">
              <a:srgbClr val="002F87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194F344-F0E2-4374-A7B9-5F44C3D09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194F344-F0E2-4374-A7B9-5F44C3D09B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396304A0-471E-4551-808D-4C3581D86B0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6915" y="458443"/>
            <a:ext cx="1325880" cy="759092"/>
          </a:xfrm>
          <a:prstGeom prst="rect">
            <a:avLst/>
          </a:prstGeom>
        </p:spPr>
      </p:pic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white">
          <a:xfrm>
            <a:off x="1" y="0"/>
            <a:ext cx="10037027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5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all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41" y="4554951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38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38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sp>
        <p:nvSpPr>
          <p:cNvPr id="11" name="Footer Placeholder 17">
            <a:extLst>
              <a:ext uri="{FF2B5EF4-FFF2-40B4-BE49-F238E27FC236}">
                <a16:creationId xmlns:a16="http://schemas.microsoft.com/office/drawing/2014/main" id="{BC3C951E-2639-4D67-B1DB-DDDB2E54FFF5}"/>
              </a:ext>
            </a:extLst>
          </p:cNvPr>
          <p:cNvSpPr txBox="1">
            <a:spLocks/>
          </p:cNvSpPr>
          <p:nvPr userDrawn="1"/>
        </p:nvSpPr>
        <p:spPr bwMode="ltGray">
          <a:xfrm>
            <a:off x="642128" y="6668112"/>
            <a:ext cx="1471155" cy="2068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914377" rtl="0" eaLnBrk="1" latinLnBrk="0" hangingPunct="1">
              <a:defRPr sz="800" kern="12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195323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On-Screen Only)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8113062-5257-42F2-9F98-7EC6D95430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8113062-5257-42F2-9F98-7EC6D95430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5">
            <a:extLst>
              <a:ext uri="{FF2B5EF4-FFF2-40B4-BE49-F238E27FC236}">
                <a16:creationId xmlns:a16="http://schemas.microsoft.com/office/drawing/2014/main" id="{FA2A827F-14B0-49A7-8921-55A1ADD9E971}"/>
              </a:ext>
            </a:extLst>
          </p:cNvPr>
          <p:cNvSpPr>
            <a:spLocks/>
          </p:cNvSpPr>
          <p:nvPr userDrawn="1"/>
        </p:nvSpPr>
        <p:spPr bwMode="ltGray">
          <a:xfrm>
            <a:off x="1" y="0"/>
            <a:ext cx="10037027" cy="6858000"/>
          </a:xfrm>
          <a:custGeom>
            <a:avLst/>
            <a:gdLst>
              <a:gd name="T0" fmla="*/ 0 w 10671"/>
              <a:gd name="T1" fmla="*/ 7312 h 7312"/>
              <a:gd name="T2" fmla="*/ 9739 w 10671"/>
              <a:gd name="T3" fmla="*/ 7312 h 7312"/>
              <a:gd name="T4" fmla="*/ 10671 w 10671"/>
              <a:gd name="T5" fmla="*/ 3656 h 7312"/>
              <a:gd name="T6" fmla="*/ 9739 w 10671"/>
              <a:gd name="T7" fmla="*/ 0 h 7312"/>
              <a:gd name="T8" fmla="*/ 0 w 10671"/>
              <a:gd name="T9" fmla="*/ 0 h 7312"/>
              <a:gd name="T10" fmla="*/ 0 w 10671"/>
              <a:gd name="T11" fmla="*/ 7312 h 7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671" h="7312">
                <a:moveTo>
                  <a:pt x="0" y="7312"/>
                </a:moveTo>
                <a:cubicBezTo>
                  <a:pt x="9739" y="7312"/>
                  <a:pt x="9739" y="7312"/>
                  <a:pt x="9739" y="7312"/>
                </a:cubicBezTo>
                <a:cubicBezTo>
                  <a:pt x="10333" y="6226"/>
                  <a:pt x="10671" y="4981"/>
                  <a:pt x="10671" y="3656"/>
                </a:cubicBezTo>
                <a:cubicBezTo>
                  <a:pt x="10671" y="2332"/>
                  <a:pt x="10333" y="1086"/>
                  <a:pt x="9739" y="0"/>
                </a:cubicBezTo>
                <a:cubicBezTo>
                  <a:pt x="0" y="0"/>
                  <a:pt x="0" y="0"/>
                  <a:pt x="0" y="0"/>
                </a:cubicBezTo>
                <a:lnTo>
                  <a:pt x="0" y="7312"/>
                </a:lnTo>
                <a:close/>
              </a:path>
            </a:pathLst>
          </a:cu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7A0918-3038-4703-8101-983BBA6C44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2324265"/>
            <a:ext cx="8315325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6000" b="0" i="0" u="none" strike="noStrike" kern="1200" cap="all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EB08D9C-3176-4C96-B2D3-820B5BA082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41" y="4554951"/>
            <a:ext cx="5518225" cy="754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-171438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38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B1B188-AAC6-4913-905A-771D19AFFC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2044" y="463362"/>
            <a:ext cx="1311584" cy="751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6530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B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02629E4-5E11-4683-AB35-959C07F472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02629E4-5E11-4683-AB35-959C07F472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2">
            <a:extLst>
              <a:ext uri="{FF2B5EF4-FFF2-40B4-BE49-F238E27FC236}">
                <a16:creationId xmlns:a16="http://schemas.microsoft.com/office/drawing/2014/main" id="{FA711328-EBF9-499E-BC02-E87673C3B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9" y="2151989"/>
            <a:ext cx="5536887" cy="1876263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kumimoji="0" lang="en-US" sz="5400" b="0" i="0" u="none" strike="noStrike" kern="1200" cap="all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Placeholder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50348B5-3F95-4960-B99C-D51F6A237F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2441" y="4554951"/>
            <a:ext cx="5518225" cy="782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defRPr lang="en-US" sz="2400" spc="0" baseline="0" dirty="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marL="0" marR="0" lvl="0" indent="-171438" latinLnBrk="0">
              <a:buClrTx/>
              <a:buNone/>
              <a:tabLst/>
            </a:pPr>
            <a:r>
              <a:rPr lang="en-US"/>
              <a:t>Date</a:t>
            </a:r>
          </a:p>
          <a:p>
            <a:pPr marL="0" marR="0" lvl="0" indent="-171438" latinLnBrk="0">
              <a:buClrTx/>
              <a:buNone/>
              <a:tabLst/>
            </a:pPr>
            <a:r>
              <a:rPr lang="en-US"/>
              <a:t>Speaker nam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84C230F-C4FA-452D-A6C0-ABF743E70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77662" y="0"/>
            <a:ext cx="5514340" cy="6858000"/>
          </a:xfrm>
          <a:custGeom>
            <a:avLst/>
            <a:gdLst>
              <a:gd name="connsiteX0" fmla="*/ 2071778 w 5514340"/>
              <a:gd name="connsiteY0" fmla="*/ 0 h 6858000"/>
              <a:gd name="connsiteX1" fmla="*/ 5514340 w 5514340"/>
              <a:gd name="connsiteY1" fmla="*/ 0 h 6858000"/>
              <a:gd name="connsiteX2" fmla="*/ 5514340 w 5514340"/>
              <a:gd name="connsiteY2" fmla="*/ 6858000 h 6858000"/>
              <a:gd name="connsiteX3" fmla="*/ 1975488 w 5514340"/>
              <a:gd name="connsiteY3" fmla="*/ 6858000 h 6858000"/>
              <a:gd name="connsiteX4" fmla="*/ 1886350 w 5514340"/>
              <a:gd name="connsiteY4" fmla="*/ 6806747 h 6858000"/>
              <a:gd name="connsiteX5" fmla="*/ 0 w 5514340"/>
              <a:gd name="connsiteY5" fmla="*/ 3456012 h 6858000"/>
              <a:gd name="connsiteX6" fmla="*/ 2050422 w 5514340"/>
              <a:gd name="connsiteY6" fmla="*/ 1093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14340" h="6858000">
                <a:moveTo>
                  <a:pt x="2071778" y="0"/>
                </a:moveTo>
                <a:lnTo>
                  <a:pt x="5514340" y="0"/>
                </a:lnTo>
                <a:lnTo>
                  <a:pt x="5514340" y="6858000"/>
                </a:lnTo>
                <a:lnTo>
                  <a:pt x="1975488" y="6858000"/>
                </a:lnTo>
                <a:lnTo>
                  <a:pt x="1886350" y="6806747"/>
                </a:lnTo>
                <a:cubicBezTo>
                  <a:pt x="755439" y="6119589"/>
                  <a:pt x="0" y="4876022"/>
                  <a:pt x="0" y="3456012"/>
                </a:cubicBezTo>
                <a:cubicBezTo>
                  <a:pt x="0" y="1968383"/>
                  <a:pt x="829099" y="674400"/>
                  <a:pt x="2050422" y="10938"/>
                </a:cubicBez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>
              <a:defRPr lang="en-US"/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87464C84-9B11-4E7C-9C99-8B8EACAE6B21}"/>
              </a:ext>
            </a:extLst>
          </p:cNvPr>
          <p:cNvSpPr>
            <a:spLocks noChangeAspect="1"/>
          </p:cNvSpPr>
          <p:nvPr userDrawn="1"/>
        </p:nvSpPr>
        <p:spPr bwMode="ltGray">
          <a:xfrm>
            <a:off x="6559771" y="0"/>
            <a:ext cx="2192109" cy="6858000"/>
          </a:xfrm>
          <a:custGeom>
            <a:avLst/>
            <a:gdLst>
              <a:gd name="connsiteX0" fmla="*/ 1946802 w 2192109"/>
              <a:gd name="connsiteY0" fmla="*/ 0 h 6858000"/>
              <a:gd name="connsiteX1" fmla="*/ 2192109 w 2192109"/>
              <a:gd name="connsiteY1" fmla="*/ 0 h 6858000"/>
              <a:gd name="connsiteX2" fmla="*/ 2171997 w 2192109"/>
              <a:gd name="connsiteY2" fmla="*/ 10301 h 6858000"/>
              <a:gd name="connsiteX3" fmla="*/ 121196 w 2192109"/>
              <a:gd name="connsiteY3" fmla="*/ 3456012 h 6858000"/>
              <a:gd name="connsiteX4" fmla="*/ 2007895 w 2192109"/>
              <a:gd name="connsiteY4" fmla="*/ 6807367 h 6858000"/>
              <a:gd name="connsiteX5" fmla="*/ 2095955 w 2192109"/>
              <a:gd name="connsiteY5" fmla="*/ 6858000 h 6858000"/>
              <a:gd name="connsiteX6" fmla="*/ 1862352 w 2192109"/>
              <a:gd name="connsiteY6" fmla="*/ 6858000 h 6858000"/>
              <a:gd name="connsiteX7" fmla="*/ 1781140 w 2192109"/>
              <a:gd name="connsiteY7" fmla="*/ 6805936 h 6858000"/>
              <a:gd name="connsiteX8" fmla="*/ 0 w 2192109"/>
              <a:gd name="connsiteY8" fmla="*/ 3456012 h 6858000"/>
              <a:gd name="connsiteX9" fmla="*/ 1945050 w 2192109"/>
              <a:gd name="connsiteY9" fmla="*/ 10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92109" h="6858000">
                <a:moveTo>
                  <a:pt x="1946802" y="0"/>
                </a:moveTo>
                <a:lnTo>
                  <a:pt x="2192109" y="0"/>
                </a:lnTo>
                <a:lnTo>
                  <a:pt x="2171997" y="10301"/>
                </a:lnTo>
                <a:cubicBezTo>
                  <a:pt x="950448" y="673886"/>
                  <a:pt x="121196" y="1968108"/>
                  <a:pt x="121196" y="3456012"/>
                </a:cubicBezTo>
                <a:cubicBezTo>
                  <a:pt x="121196" y="4876284"/>
                  <a:pt x="876775" y="6120081"/>
                  <a:pt x="2007895" y="6807367"/>
                </a:cubicBezTo>
                <a:lnTo>
                  <a:pt x="2095955" y="6858000"/>
                </a:lnTo>
                <a:lnTo>
                  <a:pt x="1862352" y="6858000"/>
                </a:lnTo>
                <a:lnTo>
                  <a:pt x="1781140" y="6805936"/>
                </a:lnTo>
                <a:cubicBezTo>
                  <a:pt x="706528" y="6079942"/>
                  <a:pt x="0" y="4850487"/>
                  <a:pt x="0" y="3456012"/>
                </a:cubicBezTo>
                <a:cubicBezTo>
                  <a:pt x="0" y="1991814"/>
                  <a:pt x="778947" y="709549"/>
                  <a:pt x="1945050" y="1008"/>
                </a:cubicBezTo>
                <a:close/>
              </a:path>
            </a:pathLst>
          </a:cu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US" sz="180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13248A8-0948-46BD-81D6-9D1715B91BA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090" y="6052595"/>
            <a:ext cx="955343" cy="547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426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C520056-086C-455F-928B-81F52F8BE721}"/>
              </a:ext>
            </a:extLst>
          </p:cNvPr>
          <p:cNvSpPr/>
          <p:nvPr userDrawn="1"/>
        </p:nvSpPr>
        <p:spPr bwMode="ltGray">
          <a:xfrm>
            <a:off x="0" y="2308251"/>
            <a:ext cx="12192000" cy="2241500"/>
          </a:xfrm>
          <a:prstGeom prst="rect">
            <a:avLst/>
          </a:pr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FEAD26-BB58-4888-8067-7BFE89073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308251"/>
            <a:ext cx="11204448" cy="2241500"/>
          </a:xfrm>
        </p:spPr>
        <p:txBody>
          <a:bodyPr vert="horz" lIns="457200" tIns="0" rIns="457200" bIns="0" rtlCol="0" anchor="ctr">
            <a:noAutofit/>
          </a:bodyPr>
          <a:lstStyle>
            <a:lvl1pPr algn="ctr">
              <a:defRPr lang="en-US" sz="6000">
                <a:solidFill>
                  <a:schemeClr val="bg1"/>
                </a:solidFill>
                <a:latin typeface="+mj-lt"/>
                <a:cs typeface="+mj-cs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FC8F7FF-631E-461B-BBD2-0C1C1D0FDA54}"/>
              </a:ext>
            </a:extLst>
          </p:cNvPr>
          <p:cNvSpPr/>
          <p:nvPr userDrawn="1"/>
        </p:nvSpPr>
        <p:spPr bwMode="white">
          <a:xfrm>
            <a:off x="132902" y="6218787"/>
            <a:ext cx="12078601" cy="477424"/>
          </a:xfrm>
          <a:custGeom>
            <a:avLst/>
            <a:gdLst>
              <a:gd name="connsiteX0" fmla="*/ 0 w 12078601"/>
              <a:gd name="connsiteY0" fmla="*/ 0 h 477424"/>
              <a:gd name="connsiteX1" fmla="*/ 11926202 w 12078601"/>
              <a:gd name="connsiteY1" fmla="*/ 0 h 477424"/>
              <a:gd name="connsiteX2" fmla="*/ 11926202 w 12078601"/>
              <a:gd name="connsiteY2" fmla="*/ 152400 h 477424"/>
              <a:gd name="connsiteX3" fmla="*/ 12078601 w 12078601"/>
              <a:gd name="connsiteY3" fmla="*/ 152400 h 477424"/>
              <a:gd name="connsiteX4" fmla="*/ 12078601 w 12078601"/>
              <a:gd name="connsiteY4" fmla="*/ 477424 h 477424"/>
              <a:gd name="connsiteX5" fmla="*/ 9582600 w 12078601"/>
              <a:gd name="connsiteY5" fmla="*/ 477424 h 477424"/>
              <a:gd name="connsiteX6" fmla="*/ 9582600 w 12078601"/>
              <a:gd name="connsiteY6" fmla="*/ 325024 h 477424"/>
              <a:gd name="connsiteX7" fmla="*/ 0 w 12078601"/>
              <a:gd name="connsiteY7" fmla="*/ 325024 h 477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78601" h="477424">
                <a:moveTo>
                  <a:pt x="0" y="0"/>
                </a:moveTo>
                <a:lnTo>
                  <a:pt x="11926202" y="0"/>
                </a:lnTo>
                <a:lnTo>
                  <a:pt x="11926202" y="152400"/>
                </a:lnTo>
                <a:lnTo>
                  <a:pt x="12078601" y="152400"/>
                </a:lnTo>
                <a:lnTo>
                  <a:pt x="12078601" y="477424"/>
                </a:lnTo>
                <a:lnTo>
                  <a:pt x="9582600" y="477424"/>
                </a:lnTo>
                <a:lnTo>
                  <a:pt x="9582600" y="325024"/>
                </a:lnTo>
                <a:lnTo>
                  <a:pt x="0" y="32502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983881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98A54917-92DA-43A2-AF5C-30F105F7280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77825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DE6CF1F-5984-4F32-8164-50BFD0F1E0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DE6CF1F-5984-4F32-8164-50BFD0F1E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BFDA350-91FA-4617-A356-25B313F77D7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B01C665-1F2E-4EDF-B534-19854A4246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8" name="Title Placeholder 16">
            <a:extLst>
              <a:ext uri="{FF2B5EF4-FFF2-40B4-BE49-F238E27FC236}">
                <a16:creationId xmlns:a16="http://schemas.microsoft.com/office/drawing/2014/main" id="{9B076210-4F22-4568-BA4A-0CC1C9DDF8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9"/>
            <a:ext cx="11204448" cy="649447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6387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A66E69-250E-45A7-81C9-EE763D433C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A66E69-250E-45A7-81C9-EE763D433C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A672492-29BC-4104-8EE8-EA5CB83087B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D22347-DCD7-44B7-8B37-3A074369084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8" name="Title Placeholder 16">
            <a:extLst>
              <a:ext uri="{FF2B5EF4-FFF2-40B4-BE49-F238E27FC236}">
                <a16:creationId xmlns:a16="http://schemas.microsoft.com/office/drawing/2014/main" id="{877231D2-3276-4660-A75B-7CBBF2D852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9"/>
            <a:ext cx="11204448" cy="649447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2472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with Subtitle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141D79F-C978-4749-9F48-B0B10322C3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141D79F-C978-4749-9F48-B0B10322C3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EC4ADB7-5BD7-475C-BE9A-94BECBA1793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8EEFF8-5965-4631-9A29-8825AB38259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8" name="Title Placeholder 16">
            <a:extLst>
              <a:ext uri="{FF2B5EF4-FFF2-40B4-BE49-F238E27FC236}">
                <a16:creationId xmlns:a16="http://schemas.microsoft.com/office/drawing/2014/main" id="{AE11F491-6608-48C4-B3CF-B758A7789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9"/>
            <a:ext cx="11204448" cy="649447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2613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(Multi Layou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CAC3DF-7242-4A8A-97B9-27799A9448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CAC3DF-7242-4A8A-97B9-27799A9448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EA4578D-A3C3-4415-855C-41E3CCFA02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F15D45E-1A29-46E9-B58E-872FED8D000F}"/>
              </a:ext>
            </a:extLst>
          </p:cNvPr>
          <p:cNvSpPr/>
          <p:nvPr userDrawn="1"/>
        </p:nvSpPr>
        <p:spPr bwMode="ltGray">
          <a:xfrm>
            <a:off x="829544" y="1545168"/>
            <a:ext cx="2905619" cy="2905619"/>
          </a:xfrm>
          <a:prstGeom prst="ellipse">
            <a:avLst/>
          </a:pr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828709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Proxima Nova" panose="02000506030000020004" pitchFamily="50" charset="0"/>
              <a:ea typeface="Proxima Nova Light" charset="0"/>
              <a:cs typeface="Proxima Nova Light" charset="0"/>
              <a:sym typeface="Proxima Nova Light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81DC18-66F7-491B-8089-60DD8E1AB1AA}"/>
              </a:ext>
            </a:extLst>
          </p:cNvPr>
          <p:cNvSpPr/>
          <p:nvPr userDrawn="1"/>
        </p:nvSpPr>
        <p:spPr bwMode="ltGray">
          <a:xfrm>
            <a:off x="4643192" y="1545168"/>
            <a:ext cx="2905619" cy="2905619"/>
          </a:xfrm>
          <a:prstGeom prst="ellipse">
            <a:avLst/>
          </a:pr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828709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Proxima Nova" panose="02000506030000020004" pitchFamily="50" charset="0"/>
              <a:ea typeface="Proxima Nova Light" charset="0"/>
              <a:cs typeface="Proxima Nova Light" charset="0"/>
              <a:sym typeface="Proxima Nova Light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75A85B8-9A99-4F3C-933A-121390A9334B}"/>
              </a:ext>
            </a:extLst>
          </p:cNvPr>
          <p:cNvSpPr/>
          <p:nvPr userDrawn="1"/>
        </p:nvSpPr>
        <p:spPr bwMode="ltGray">
          <a:xfrm>
            <a:off x="8456840" y="1545168"/>
            <a:ext cx="2905619" cy="2905619"/>
          </a:xfrm>
          <a:prstGeom prst="ellipse">
            <a:avLst/>
          </a:pr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828709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Proxima Nova" panose="02000506030000020004" pitchFamily="50" charset="0"/>
              <a:ea typeface="Proxima Nova Light" charset="0"/>
              <a:cs typeface="Proxima Nova Light" charset="0"/>
              <a:sym typeface="Proxima Nova Light" charset="0"/>
            </a:endParaRP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7CA44ADC-5231-43AF-906E-A8DDA719957B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910129" y="1625783"/>
            <a:ext cx="2741647" cy="27432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ECE4A802-C7F3-4538-B1FB-98E6F6127650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4723777" y="1625783"/>
            <a:ext cx="2741647" cy="27432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9" name="Picture Placeholder 35">
            <a:extLst>
              <a:ext uri="{FF2B5EF4-FFF2-40B4-BE49-F238E27FC236}">
                <a16:creationId xmlns:a16="http://schemas.microsoft.com/office/drawing/2014/main" id="{5B525A51-4DF4-42AF-82A8-0F5A36D8AA4E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8537425" y="1625783"/>
            <a:ext cx="2741647" cy="27432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17BFF989-2765-4A09-8AE8-E2ACBBE59A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737" y="4866951"/>
            <a:ext cx="2606675" cy="1019175"/>
          </a:xfrm>
          <a:prstGeom prst="rect">
            <a:avLst/>
          </a:prstGeo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1</a:t>
            </a:r>
          </a:p>
        </p:txBody>
      </p:sp>
      <p:sp>
        <p:nvSpPr>
          <p:cNvPr id="43" name="Text Placeholder 41">
            <a:extLst>
              <a:ext uri="{FF2B5EF4-FFF2-40B4-BE49-F238E27FC236}">
                <a16:creationId xmlns:a16="http://schemas.microsoft.com/office/drawing/2014/main" id="{91C01F98-B49B-4B32-B1BB-B41E8EA15A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2665" y="4866951"/>
            <a:ext cx="2606675" cy="1019175"/>
          </a:xfrm>
          <a:prstGeom prst="rect">
            <a:avLst/>
          </a:prstGeo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2</a:t>
            </a:r>
          </a:p>
        </p:txBody>
      </p:sp>
      <p:sp>
        <p:nvSpPr>
          <p:cNvPr id="44" name="Text Placeholder 41">
            <a:extLst>
              <a:ext uri="{FF2B5EF4-FFF2-40B4-BE49-F238E27FC236}">
                <a16:creationId xmlns:a16="http://schemas.microsoft.com/office/drawing/2014/main" id="{FC7C06E5-7271-4B89-AB80-DD09B51F8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6312" y="4866951"/>
            <a:ext cx="2606675" cy="1019175"/>
          </a:xfrm>
          <a:prstGeom prst="rect">
            <a:avLst/>
          </a:prstGeom>
        </p:spPr>
        <p:txBody>
          <a:bodyPr/>
          <a:lstStyle>
            <a:lvl1pPr algn="ctr">
              <a:defRPr sz="2400">
                <a:latin typeface="+mj-lt"/>
              </a:defRPr>
            </a:lvl1pPr>
          </a:lstStyle>
          <a:p>
            <a:pPr lvl="0"/>
            <a:r>
              <a:rPr lang="en-US"/>
              <a:t>Caption 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049BB6-04FD-4FD2-B4E8-8FE0B4744BF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16" name="Title Placeholder 16">
            <a:extLst>
              <a:ext uri="{FF2B5EF4-FFF2-40B4-BE49-F238E27FC236}">
                <a16:creationId xmlns:a16="http://schemas.microsoft.com/office/drawing/2014/main" id="{BBFBBCAA-5145-4A1F-828D-DA79A6BDC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9"/>
            <a:ext cx="11204448" cy="649447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1044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with Body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C4BD777-A0AD-424A-8C17-DD9C192467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C4BD777-A0AD-424A-8C17-DD9C192467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D36620D-4EBB-443C-B603-CE213823D1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B34ABD-61F5-4AA6-B0FF-B8FD67F5198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93778" y="1306276"/>
            <a:ext cx="5741924" cy="487015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F289E38-44F5-4D8D-9EE0-619201D57247}"/>
              </a:ext>
            </a:extLst>
          </p:cNvPr>
          <p:cNvSpPr/>
          <p:nvPr userDrawn="1"/>
        </p:nvSpPr>
        <p:spPr bwMode="white">
          <a:xfrm>
            <a:off x="0" y="6249124"/>
            <a:ext cx="12192000" cy="604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Picture Placeholder 35">
            <a:extLst>
              <a:ext uri="{FF2B5EF4-FFF2-40B4-BE49-F238E27FC236}">
                <a16:creationId xmlns:a16="http://schemas.microsoft.com/office/drawing/2014/main" id="{B6EFA928-550A-425C-9E54-627E2710A12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345785" y="747173"/>
            <a:ext cx="7506867" cy="751112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27000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A576447A-4E33-419A-975F-8E6D8E8D0226}"/>
              </a:ext>
            </a:extLst>
          </p:cNvPr>
          <p:cNvSpPr>
            <a:spLocks noEditPoints="1"/>
          </p:cNvSpPr>
          <p:nvPr userDrawn="1"/>
        </p:nvSpPr>
        <p:spPr bwMode="ltGray">
          <a:xfrm>
            <a:off x="7244185" y="647702"/>
            <a:ext cx="7710067" cy="7683585"/>
          </a:xfrm>
          <a:custGeom>
            <a:avLst/>
            <a:gdLst>
              <a:gd name="T0" fmla="*/ 1000 w 2000"/>
              <a:gd name="T1" fmla="*/ 2000 h 2000"/>
              <a:gd name="T2" fmla="*/ 0 w 2000"/>
              <a:gd name="T3" fmla="*/ 1000 h 2000"/>
              <a:gd name="T4" fmla="*/ 1000 w 2000"/>
              <a:gd name="T5" fmla="*/ 0 h 2000"/>
              <a:gd name="T6" fmla="*/ 2000 w 2000"/>
              <a:gd name="T7" fmla="*/ 1000 h 2000"/>
              <a:gd name="T8" fmla="*/ 1000 w 2000"/>
              <a:gd name="T9" fmla="*/ 2000 h 2000"/>
              <a:gd name="T10" fmla="*/ 1970 w 2000"/>
              <a:gd name="T11" fmla="*/ 1000 h 2000"/>
              <a:gd name="T12" fmla="*/ 1000 w 2000"/>
              <a:gd name="T13" fmla="*/ 30 h 2000"/>
              <a:gd name="T14" fmla="*/ 30 w 2000"/>
              <a:gd name="T15" fmla="*/ 1000 h 2000"/>
              <a:gd name="T16" fmla="*/ 1000 w 2000"/>
              <a:gd name="T17" fmla="*/ 1970 h 2000"/>
              <a:gd name="T18" fmla="*/ 1970 w 2000"/>
              <a:gd name="T19" fmla="*/ 1000 h 2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00" h="2000">
                <a:moveTo>
                  <a:pt x="1000" y="2000"/>
                </a:moveTo>
                <a:cubicBezTo>
                  <a:pt x="448" y="2000"/>
                  <a:pt x="0" y="1552"/>
                  <a:pt x="0" y="1000"/>
                </a:cubicBezTo>
                <a:cubicBezTo>
                  <a:pt x="0" y="448"/>
                  <a:pt x="448" y="0"/>
                  <a:pt x="1000" y="0"/>
                </a:cubicBezTo>
                <a:cubicBezTo>
                  <a:pt x="1552" y="0"/>
                  <a:pt x="2000" y="448"/>
                  <a:pt x="2000" y="1000"/>
                </a:cubicBezTo>
                <a:cubicBezTo>
                  <a:pt x="2000" y="1552"/>
                  <a:pt x="1552" y="2000"/>
                  <a:pt x="1000" y="2000"/>
                </a:cubicBezTo>
                <a:close/>
                <a:moveTo>
                  <a:pt x="1970" y="1000"/>
                </a:moveTo>
                <a:cubicBezTo>
                  <a:pt x="1970" y="464"/>
                  <a:pt x="1536" y="30"/>
                  <a:pt x="1000" y="30"/>
                </a:cubicBezTo>
                <a:cubicBezTo>
                  <a:pt x="464" y="30"/>
                  <a:pt x="30" y="464"/>
                  <a:pt x="30" y="1000"/>
                </a:cubicBezTo>
                <a:cubicBezTo>
                  <a:pt x="30" y="1536"/>
                  <a:pt x="464" y="1970"/>
                  <a:pt x="1000" y="1970"/>
                </a:cubicBezTo>
                <a:cubicBezTo>
                  <a:pt x="1536" y="1970"/>
                  <a:pt x="1970" y="1536"/>
                  <a:pt x="1970" y="1000"/>
                </a:cubicBezTo>
                <a:close/>
              </a:path>
            </a:pathLst>
          </a:cu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800"/>
          </a:p>
        </p:txBody>
      </p:sp>
      <p:sp>
        <p:nvSpPr>
          <p:cNvPr id="12" name="Title Placeholder 16">
            <a:extLst>
              <a:ext uri="{FF2B5EF4-FFF2-40B4-BE49-F238E27FC236}">
                <a16:creationId xmlns:a16="http://schemas.microsoft.com/office/drawing/2014/main" id="{C9ABB39C-5FC6-4CFE-9900-52A231CB0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9"/>
            <a:ext cx="11204448" cy="649447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1684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F3437839-E8BC-4338-9A65-CD317667D7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498" y="1541688"/>
            <a:ext cx="5647028" cy="1742613"/>
          </a:xfrm>
        </p:spPr>
        <p:txBody>
          <a:bodyPr tIns="0" anchor="t">
            <a:noAutofit/>
          </a:bodyPr>
          <a:lstStyle>
            <a:lvl1pPr>
              <a:lnSpc>
                <a:spcPct val="80000"/>
              </a:lnSpc>
              <a:defRPr kumimoji="0" lang="en-US" sz="60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0A01E28F-0140-455F-A17F-5E7BCE53FF0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16256" y="1003300"/>
            <a:ext cx="5481968" cy="495300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spcBef>
                <a:spcPts val="1200"/>
              </a:spcBef>
              <a:spcAft>
                <a:spcPts val="0"/>
              </a:spcAft>
              <a:defRPr sz="2800" b="1">
                <a:latin typeface="+mj-lt"/>
              </a:defRPr>
            </a:lvl1pPr>
            <a:lvl2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800" b="1">
                <a:solidFill>
                  <a:schemeClr val="accent1"/>
                </a:solidFill>
              </a:defRPr>
            </a:lvl2pPr>
            <a:lvl3pPr marL="228600" indent="-22860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401638" indent="-173038">
              <a:buFont typeface="Arial" panose="020B0604020202020204" pitchFamily="34" charset="0"/>
              <a:buChar char="̵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0" indent="0"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2000"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82C919C-B3F0-4F99-A21A-09CF3375F5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98A54917-92DA-43A2-AF5C-30F105F7280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44863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49384379-F2D1-4F83-8127-E81176310007}"/>
              </a:ext>
            </a:extLst>
          </p:cNvPr>
          <p:cNvSpPr/>
          <p:nvPr userDrawn="1"/>
        </p:nvSpPr>
        <p:spPr bwMode="ltGray">
          <a:xfrm>
            <a:off x="2234639" y="0"/>
            <a:ext cx="7696200" cy="6858000"/>
          </a:xfrm>
          <a:custGeom>
            <a:avLst/>
            <a:gdLst>
              <a:gd name="connsiteX0" fmla="*/ 5333647 w 7696200"/>
              <a:gd name="connsiteY0" fmla="*/ 0 h 6858000"/>
              <a:gd name="connsiteX1" fmla="*/ 5593798 w 7696200"/>
              <a:gd name="connsiteY1" fmla="*/ 0 h 6858000"/>
              <a:gd name="connsiteX2" fmla="*/ 5682333 w 7696200"/>
              <a:gd name="connsiteY2" fmla="*/ 45345 h 6858000"/>
              <a:gd name="connsiteX3" fmla="*/ 7696200 w 7696200"/>
              <a:gd name="connsiteY3" fmla="*/ 3429000 h 6858000"/>
              <a:gd name="connsiteX4" fmla="*/ 5682333 w 7696200"/>
              <a:gd name="connsiteY4" fmla="*/ 6812655 h 6858000"/>
              <a:gd name="connsiteX5" fmla="*/ 5593798 w 7696200"/>
              <a:gd name="connsiteY5" fmla="*/ 6858000 h 6858000"/>
              <a:gd name="connsiteX6" fmla="*/ 5333647 w 7696200"/>
              <a:gd name="connsiteY6" fmla="*/ 6858000 h 6858000"/>
              <a:gd name="connsiteX7" fmla="*/ 5468109 w 7696200"/>
              <a:gd name="connsiteY7" fmla="*/ 6797211 h 6858000"/>
              <a:gd name="connsiteX8" fmla="*/ 7584789 w 7696200"/>
              <a:gd name="connsiteY8" fmla="*/ 3429000 h 6858000"/>
              <a:gd name="connsiteX9" fmla="*/ 5468109 w 7696200"/>
              <a:gd name="connsiteY9" fmla="*/ 60789 h 6858000"/>
              <a:gd name="connsiteX10" fmla="*/ 2102402 w 7696200"/>
              <a:gd name="connsiteY10" fmla="*/ 0 h 6858000"/>
              <a:gd name="connsiteX11" fmla="*/ 2362554 w 7696200"/>
              <a:gd name="connsiteY11" fmla="*/ 0 h 6858000"/>
              <a:gd name="connsiteX12" fmla="*/ 2228091 w 7696200"/>
              <a:gd name="connsiteY12" fmla="*/ 60789 h 6858000"/>
              <a:gd name="connsiteX13" fmla="*/ 111411 w 7696200"/>
              <a:gd name="connsiteY13" fmla="*/ 3429000 h 6858000"/>
              <a:gd name="connsiteX14" fmla="*/ 2228091 w 7696200"/>
              <a:gd name="connsiteY14" fmla="*/ 6797211 h 6858000"/>
              <a:gd name="connsiteX15" fmla="*/ 2362554 w 7696200"/>
              <a:gd name="connsiteY15" fmla="*/ 6858000 h 6858000"/>
              <a:gd name="connsiteX16" fmla="*/ 2102402 w 7696200"/>
              <a:gd name="connsiteY16" fmla="*/ 6858000 h 6858000"/>
              <a:gd name="connsiteX17" fmla="*/ 2013867 w 7696200"/>
              <a:gd name="connsiteY17" fmla="*/ 6812655 h 6858000"/>
              <a:gd name="connsiteX18" fmla="*/ 0 w 7696200"/>
              <a:gd name="connsiteY18" fmla="*/ 3429000 h 6858000"/>
              <a:gd name="connsiteX19" fmla="*/ 2013867 w 7696200"/>
              <a:gd name="connsiteY19" fmla="*/ 4534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7696200" h="6858000">
                <a:moveTo>
                  <a:pt x="5333647" y="0"/>
                </a:moveTo>
                <a:lnTo>
                  <a:pt x="5593798" y="0"/>
                </a:lnTo>
                <a:lnTo>
                  <a:pt x="5682333" y="45345"/>
                </a:lnTo>
                <a:cubicBezTo>
                  <a:pt x="6881883" y="696980"/>
                  <a:pt x="7696200" y="1967893"/>
                  <a:pt x="7696200" y="3429000"/>
                </a:cubicBezTo>
                <a:cubicBezTo>
                  <a:pt x="7696200" y="4890108"/>
                  <a:pt x="6881883" y="6161021"/>
                  <a:pt x="5682333" y="6812655"/>
                </a:cubicBezTo>
                <a:lnTo>
                  <a:pt x="5593798" y="6858000"/>
                </a:lnTo>
                <a:lnTo>
                  <a:pt x="5333647" y="6858000"/>
                </a:lnTo>
                <a:lnTo>
                  <a:pt x="5468109" y="6797211"/>
                </a:lnTo>
                <a:cubicBezTo>
                  <a:pt x="6720529" y="6193734"/>
                  <a:pt x="7584789" y="4912296"/>
                  <a:pt x="7584789" y="3429000"/>
                </a:cubicBezTo>
                <a:cubicBezTo>
                  <a:pt x="7584789" y="1945704"/>
                  <a:pt x="6720529" y="664267"/>
                  <a:pt x="5468109" y="60789"/>
                </a:cubicBezTo>
                <a:close/>
                <a:moveTo>
                  <a:pt x="2102402" y="0"/>
                </a:moveTo>
                <a:lnTo>
                  <a:pt x="2362554" y="0"/>
                </a:lnTo>
                <a:lnTo>
                  <a:pt x="2228091" y="60789"/>
                </a:lnTo>
                <a:cubicBezTo>
                  <a:pt x="975672" y="664267"/>
                  <a:pt x="111411" y="1945704"/>
                  <a:pt x="111411" y="3429000"/>
                </a:cubicBezTo>
                <a:cubicBezTo>
                  <a:pt x="111411" y="4912296"/>
                  <a:pt x="975672" y="6193734"/>
                  <a:pt x="2228091" y="6797211"/>
                </a:cubicBezTo>
                <a:lnTo>
                  <a:pt x="2362554" y="6858000"/>
                </a:lnTo>
                <a:lnTo>
                  <a:pt x="2102402" y="6858000"/>
                </a:lnTo>
                <a:lnTo>
                  <a:pt x="2013867" y="6812655"/>
                </a:lnTo>
                <a:cubicBezTo>
                  <a:pt x="814318" y="6161021"/>
                  <a:pt x="0" y="4890108"/>
                  <a:pt x="0" y="3429000"/>
                </a:cubicBezTo>
                <a:cubicBezTo>
                  <a:pt x="0" y="1967893"/>
                  <a:pt x="814318" y="696980"/>
                  <a:pt x="2013867" y="45345"/>
                </a:cubicBezTo>
                <a:close/>
              </a:path>
            </a:pathLst>
          </a:cu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800"/>
          </a:p>
        </p:txBody>
      </p:sp>
      <p:sp>
        <p:nvSpPr>
          <p:cNvPr id="12" name="Content Placeholder 13">
            <a:extLst>
              <a:ext uri="{FF2B5EF4-FFF2-40B4-BE49-F238E27FC236}">
                <a16:creationId xmlns:a16="http://schemas.microsoft.com/office/drawing/2014/main" id="{B9D677F4-4749-47B1-8AFA-DFA6D872EF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293259" y="2004516"/>
            <a:ext cx="7605487" cy="2848971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152388" indent="-152388" algn="ctr" defTabSz="914332" rtl="0" eaLnBrk="0" fontAlgn="base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SzPct val="100000"/>
              <a:buNone/>
              <a:defRPr lang="en-US" sz="6000" b="0" i="0" kern="1200" baseline="0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  <a:sym typeface="Proxima Nova" charset="0"/>
              </a:defRPr>
            </a:lvl1pPr>
            <a:lvl2pPr marL="171437" marR="0" indent="0" algn="l" defTabSz="914332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Key Statement</a:t>
            </a:r>
            <a:br>
              <a:rPr lang="en-US"/>
            </a:br>
            <a:r>
              <a:rPr lang="en-US"/>
              <a:t>Placehold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98999B2-34CF-4DB9-B02E-1035B52AFB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090" y="6052595"/>
            <a:ext cx="955343" cy="547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164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lid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9" y="2632370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294" indent="-114294" algn="l" defTabSz="685766" rtl="0" eaLnBrk="0" fontAlgn="base" hangingPunct="0">
              <a:lnSpc>
                <a:spcPct val="90000"/>
              </a:lnSpc>
              <a:spcBef>
                <a:spcPts val="1351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79" marR="0" indent="0" algn="l" defTabSz="685766" rtl="0" eaLnBrk="0" fontAlgn="base" latinLnBrk="0" hangingPunct="0">
              <a:lnSpc>
                <a:spcPct val="90000"/>
              </a:lnSpc>
              <a:spcBef>
                <a:spcPts val="1351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Place Text Here.</a:t>
            </a:r>
          </a:p>
        </p:txBody>
      </p:sp>
    </p:spTree>
    <p:extLst>
      <p:ext uri="{BB962C8B-B14F-4D97-AF65-F5344CB8AC3E}">
        <p14:creationId xmlns:p14="http://schemas.microsoft.com/office/powerpoint/2010/main" val="2031626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Layout (Gradient)">
    <p:bg>
      <p:bgPr>
        <a:gradFill>
          <a:gsLst>
            <a:gs pos="1000">
              <a:srgbClr val="00B3F4"/>
            </a:gs>
            <a:gs pos="99000">
              <a:srgbClr val="002F87"/>
            </a:gs>
          </a:gsLst>
          <a:lin ang="3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2C82202C-7A22-4F82-BB7E-52012371FA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3779" y="2632370"/>
            <a:ext cx="11193399" cy="16348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14294" indent="-114294" algn="l" defTabSz="685766" rtl="0" eaLnBrk="0" fontAlgn="base" hangingPunct="0">
              <a:lnSpc>
                <a:spcPct val="90000"/>
              </a:lnSpc>
              <a:spcBef>
                <a:spcPts val="1351"/>
              </a:spcBef>
              <a:spcAft>
                <a:spcPct val="0"/>
              </a:spcAft>
              <a:buSzPct val="100000"/>
              <a:buNone/>
              <a:defRPr lang="en-US" sz="4400" b="0" i="0" kern="1200" baseline="0" dirty="0">
                <a:solidFill>
                  <a:srgbClr val="FFFFFF"/>
                </a:solidFill>
                <a:latin typeface="+mn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79" marR="0" indent="0" algn="l" defTabSz="685766" rtl="0" eaLnBrk="0" fontAlgn="base" latinLnBrk="0" hangingPunct="0">
              <a:lnSpc>
                <a:spcPct val="90000"/>
              </a:lnSpc>
              <a:spcBef>
                <a:spcPts val="1351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“Quote goes here.”</a:t>
            </a:r>
          </a:p>
        </p:txBody>
      </p:sp>
      <p:sp>
        <p:nvSpPr>
          <p:cNvPr id="6" name="Content Placeholder 13">
            <a:extLst>
              <a:ext uri="{FF2B5EF4-FFF2-40B4-BE49-F238E27FC236}">
                <a16:creationId xmlns:a16="http://schemas.microsoft.com/office/drawing/2014/main" id="{58DDA3F2-7540-4F50-B1DB-F944373479D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93779" y="4626223"/>
            <a:ext cx="11193399" cy="228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685766" rtl="0" eaLnBrk="0" fontAlgn="base" hangingPunct="0">
              <a:lnSpc>
                <a:spcPct val="90000"/>
              </a:lnSpc>
              <a:spcBef>
                <a:spcPts val="1351"/>
              </a:spcBef>
              <a:spcAft>
                <a:spcPct val="0"/>
              </a:spcAft>
              <a:buSzPct val="100000"/>
              <a:buNone/>
              <a:defRPr lang="en-US" sz="2800" b="1" i="0" kern="1200" cap="all" baseline="0" dirty="0">
                <a:solidFill>
                  <a:srgbClr val="FFFFFF"/>
                </a:solidFill>
                <a:latin typeface="+mj-lt"/>
                <a:ea typeface="Proxima Nova" panose="02000506030000020004" pitchFamily="50" charset="0"/>
                <a:cs typeface="Proxima Nova" panose="02000506030000020004" pitchFamily="50" charset="0"/>
                <a:sym typeface="Proxima Nova" charset="0"/>
              </a:defRPr>
            </a:lvl1pPr>
            <a:lvl2pPr marL="128579" marR="0" indent="0" algn="l" defTabSz="685766" rtl="0" eaLnBrk="0" fontAlgn="base" latinLnBrk="0" hangingPunct="0">
              <a:lnSpc>
                <a:spcPct val="90000"/>
              </a:lnSpc>
              <a:spcBef>
                <a:spcPts val="1351"/>
              </a:spcBef>
              <a:spcAft>
                <a:spcPct val="0"/>
              </a:spcAft>
              <a:buClrTx/>
              <a:buSzPct val="100000"/>
              <a:buFont typeface="Arial" charset="0"/>
              <a:buNone/>
              <a:tabLst/>
              <a:defRPr baseline="0"/>
            </a:lvl2pPr>
          </a:lstStyle>
          <a:p>
            <a:r>
              <a:rPr lang="en-US"/>
              <a:t>Attribution goes here</a:t>
            </a:r>
          </a:p>
        </p:txBody>
      </p:sp>
      <p:sp>
        <p:nvSpPr>
          <p:cNvPr id="7" name="Content Placeholder 13">
            <a:extLst>
              <a:ext uri="{FF2B5EF4-FFF2-40B4-BE49-F238E27FC236}">
                <a16:creationId xmlns:a16="http://schemas.microsoft.com/office/drawing/2014/main" id="{1C39F708-90E7-4A10-B891-80D87750B984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93779" y="5023339"/>
            <a:ext cx="11193399" cy="228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2800" b="0" i="0" kern="1200" baseline="0" dirty="0" smtClean="0">
                <a:solidFill>
                  <a:srgbClr val="FFFFFF"/>
                </a:solidFill>
                <a:latin typeface="+mn-lt"/>
                <a:ea typeface="+mn-ea"/>
                <a:cs typeface="Proxima Nova" panose="02000506030000020004" pitchFamily="50" charset="0"/>
                <a:sym typeface="Proxima Nova" charset="0"/>
              </a:defRPr>
            </a:lvl1pPr>
          </a:lstStyle>
          <a:p>
            <a:pPr marL="0" lvl="0" indent="0">
              <a:buNone/>
            </a:pPr>
            <a:r>
              <a:rPr lang="en-US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58429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er/Clos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E0C78B2-438B-455B-BA20-60BCEC3397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97060" y="2187542"/>
            <a:ext cx="4160520" cy="2381977"/>
          </a:xfrm>
          <a:prstGeom prst="rect">
            <a:avLst/>
          </a:prstGeom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AF9195B-6ED2-49AC-9218-522143C81B76}"/>
              </a:ext>
            </a:extLst>
          </p:cNvPr>
          <p:cNvSpPr/>
          <p:nvPr userDrawn="1"/>
        </p:nvSpPr>
        <p:spPr bwMode="ltGray">
          <a:xfrm>
            <a:off x="1368552" y="0"/>
            <a:ext cx="9454896" cy="6858000"/>
          </a:xfrm>
          <a:custGeom>
            <a:avLst/>
            <a:gdLst>
              <a:gd name="connsiteX0" fmla="*/ 1475039 w 9454896"/>
              <a:gd name="connsiteY0" fmla="*/ 0 h 6858000"/>
              <a:gd name="connsiteX1" fmla="*/ 7979857 w 9454896"/>
              <a:gd name="connsiteY1" fmla="*/ 0 h 6858000"/>
              <a:gd name="connsiteX2" fmla="*/ 8070258 w 9454896"/>
              <a:gd name="connsiteY2" fmla="*/ 86190 h 6858000"/>
              <a:gd name="connsiteX3" fmla="*/ 9454896 w 9454896"/>
              <a:gd name="connsiteY3" fmla="*/ 3429000 h 6858000"/>
              <a:gd name="connsiteX4" fmla="*/ 8070258 w 9454896"/>
              <a:gd name="connsiteY4" fmla="*/ 6771811 h 6858000"/>
              <a:gd name="connsiteX5" fmla="*/ 7979857 w 9454896"/>
              <a:gd name="connsiteY5" fmla="*/ 6858000 h 6858000"/>
              <a:gd name="connsiteX6" fmla="*/ 1475039 w 9454896"/>
              <a:gd name="connsiteY6" fmla="*/ 6858000 h 6858000"/>
              <a:gd name="connsiteX7" fmla="*/ 1384638 w 9454896"/>
              <a:gd name="connsiteY7" fmla="*/ 6771811 h 6858000"/>
              <a:gd name="connsiteX8" fmla="*/ 0 w 9454896"/>
              <a:gd name="connsiteY8" fmla="*/ 3429000 h 6858000"/>
              <a:gd name="connsiteX9" fmla="*/ 1384638 w 9454896"/>
              <a:gd name="connsiteY9" fmla="*/ 8619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454896" h="6858000">
                <a:moveTo>
                  <a:pt x="1475039" y="0"/>
                </a:moveTo>
                <a:lnTo>
                  <a:pt x="7979857" y="0"/>
                </a:lnTo>
                <a:lnTo>
                  <a:pt x="8070258" y="86190"/>
                </a:lnTo>
                <a:cubicBezTo>
                  <a:pt x="8925758" y="941690"/>
                  <a:pt x="9454896" y="2123552"/>
                  <a:pt x="9454896" y="3429000"/>
                </a:cubicBezTo>
                <a:cubicBezTo>
                  <a:pt x="9454896" y="4734449"/>
                  <a:pt x="8925758" y="5916311"/>
                  <a:pt x="8070258" y="6771811"/>
                </a:cubicBezTo>
                <a:lnTo>
                  <a:pt x="7979857" y="6858000"/>
                </a:lnTo>
                <a:lnTo>
                  <a:pt x="1475039" y="6858000"/>
                </a:lnTo>
                <a:lnTo>
                  <a:pt x="1384638" y="6771811"/>
                </a:lnTo>
                <a:cubicBezTo>
                  <a:pt x="529138" y="5916311"/>
                  <a:pt x="0" y="4734449"/>
                  <a:pt x="0" y="3429000"/>
                </a:cubicBezTo>
                <a:cubicBezTo>
                  <a:pt x="0" y="2123552"/>
                  <a:pt x="529138" y="941690"/>
                  <a:pt x="1384638" y="86190"/>
                </a:cubicBezTo>
                <a:close/>
              </a:path>
            </a:pathLst>
          </a:custGeom>
          <a:gradFill>
            <a:gsLst>
              <a:gs pos="1000">
                <a:srgbClr val="00B3F4"/>
              </a:gs>
              <a:gs pos="99000">
                <a:srgbClr val="002F87"/>
              </a:gs>
            </a:gsLst>
            <a:lin ang="3000000" scaled="0"/>
          </a:gra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828709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Proxima Nova" panose="02000506030000020004" pitchFamily="50" charset="0"/>
              <a:ea typeface="Proxima Nova Light" charset="0"/>
              <a:cs typeface="Proxima Nova Light" charset="0"/>
              <a:sym typeface="Proxima Nova Light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93165DD-DEC2-43E4-B4D3-4DEA4ADBF7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15740" y="2339942"/>
            <a:ext cx="4160520" cy="2381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524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 Not Use">
    <p:bg>
      <p:bgPr>
        <a:solidFill>
          <a:srgbClr val="FC93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12D05C3-B4E4-435F-A620-EDB17198F734}"/>
              </a:ext>
            </a:extLst>
          </p:cNvPr>
          <p:cNvSpPr txBox="1">
            <a:spLocks/>
          </p:cNvSpPr>
          <p:nvPr userDrawn="1"/>
        </p:nvSpPr>
        <p:spPr>
          <a:xfrm>
            <a:off x="838200" y="2587725"/>
            <a:ext cx="10515600" cy="1716419"/>
          </a:xfrm>
          <a:prstGeom prst="rect">
            <a:avLst/>
          </a:prstGeom>
        </p:spPr>
        <p:txBody>
          <a:bodyPr vert="horz" lIns="0" tIns="121920" rIns="0" bIns="0" rtlCol="0" anchor="ctr">
            <a:noAutofit/>
          </a:bodyPr>
          <a:lstStyle>
            <a:lvl1pPr algn="ctr" defTabSz="685800" rtl="0" eaLnBrk="0" fontAlgn="base" hangingPunct="0">
              <a:lnSpc>
                <a:spcPct val="68000"/>
              </a:lnSpc>
              <a:spcBef>
                <a:spcPct val="0"/>
              </a:spcBef>
              <a:spcAft>
                <a:spcPct val="0"/>
              </a:spcAft>
              <a:defRPr kumimoji="0" lang="en-US" sz="32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Proxima Nova Black" charset="0"/>
              </a:defRPr>
            </a:lvl1pPr>
            <a:lvl2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685800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1714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3429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51435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685800" algn="l" defTabSz="685800" rtl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4267"/>
              <a:t>any masters that appear after this warning are </a:t>
            </a:r>
            <a:r>
              <a:rPr lang="en-US" sz="4267">
                <a:solidFill>
                  <a:srgbClr val="CD0000"/>
                </a:solidFill>
              </a:rPr>
              <a:t>rogue layouts </a:t>
            </a:r>
            <a:br>
              <a:rPr lang="en-US" sz="4267">
                <a:solidFill>
                  <a:srgbClr val="F9451B"/>
                </a:solidFill>
              </a:rPr>
            </a:br>
            <a:r>
              <a:rPr lang="en-US" sz="4267"/>
              <a:t>and should be deleted</a:t>
            </a:r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525B98F-982E-4377-912F-012B18901CDD}"/>
              </a:ext>
            </a:extLst>
          </p:cNvPr>
          <p:cNvSpPr>
            <a:spLocks/>
          </p:cNvSpPr>
          <p:nvPr userDrawn="1"/>
        </p:nvSpPr>
        <p:spPr bwMode="invGray">
          <a:xfrm rot="10800000">
            <a:off x="5815727" y="4750776"/>
            <a:ext cx="558432" cy="411211"/>
          </a:xfrm>
          <a:custGeom>
            <a:avLst/>
            <a:gdLst>
              <a:gd name="T0" fmla="*/ 14 w 237"/>
              <a:gd name="T1" fmla="*/ 195 h 197"/>
              <a:gd name="T2" fmla="*/ 8 w 237"/>
              <a:gd name="T3" fmla="*/ 194 h 197"/>
              <a:gd name="T4" fmla="*/ 3 w 237"/>
              <a:gd name="T5" fmla="*/ 177 h 197"/>
              <a:gd name="T6" fmla="*/ 99 w 237"/>
              <a:gd name="T7" fmla="*/ 12 h 197"/>
              <a:gd name="T8" fmla="*/ 119 w 237"/>
              <a:gd name="T9" fmla="*/ 0 h 197"/>
              <a:gd name="T10" fmla="*/ 138 w 237"/>
              <a:gd name="T11" fmla="*/ 12 h 197"/>
              <a:gd name="T12" fmla="*/ 234 w 237"/>
              <a:gd name="T13" fmla="*/ 177 h 197"/>
              <a:gd name="T14" fmla="*/ 230 w 237"/>
              <a:gd name="T15" fmla="*/ 194 h 197"/>
              <a:gd name="T16" fmla="*/ 213 w 237"/>
              <a:gd name="T17" fmla="*/ 189 h 197"/>
              <a:gd name="T18" fmla="*/ 119 w 237"/>
              <a:gd name="T19" fmla="*/ 26 h 197"/>
              <a:gd name="T20" fmla="*/ 24 w 237"/>
              <a:gd name="T21" fmla="*/ 189 h 197"/>
              <a:gd name="T22" fmla="*/ 14 w 237"/>
              <a:gd name="T23" fmla="*/ 19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7" h="197">
                <a:moveTo>
                  <a:pt x="14" y="195"/>
                </a:moveTo>
                <a:cubicBezTo>
                  <a:pt x="12" y="195"/>
                  <a:pt x="10" y="195"/>
                  <a:pt x="8" y="194"/>
                </a:cubicBezTo>
                <a:cubicBezTo>
                  <a:pt x="2" y="191"/>
                  <a:pt x="0" y="183"/>
                  <a:pt x="3" y="177"/>
                </a:cubicBezTo>
                <a:cubicBezTo>
                  <a:pt x="99" y="12"/>
                  <a:pt x="99" y="12"/>
                  <a:pt x="99" y="12"/>
                </a:cubicBezTo>
                <a:cubicBezTo>
                  <a:pt x="103" y="4"/>
                  <a:pt x="111" y="0"/>
                  <a:pt x="119" y="0"/>
                </a:cubicBezTo>
                <a:cubicBezTo>
                  <a:pt x="127" y="0"/>
                  <a:pt x="134" y="4"/>
                  <a:pt x="138" y="12"/>
                </a:cubicBezTo>
                <a:cubicBezTo>
                  <a:pt x="234" y="177"/>
                  <a:pt x="234" y="177"/>
                  <a:pt x="234" y="177"/>
                </a:cubicBezTo>
                <a:cubicBezTo>
                  <a:pt x="237" y="183"/>
                  <a:pt x="235" y="191"/>
                  <a:pt x="230" y="194"/>
                </a:cubicBezTo>
                <a:cubicBezTo>
                  <a:pt x="224" y="197"/>
                  <a:pt x="217" y="195"/>
                  <a:pt x="213" y="189"/>
                </a:cubicBezTo>
                <a:cubicBezTo>
                  <a:pt x="119" y="26"/>
                  <a:pt x="119" y="26"/>
                  <a:pt x="119" y="26"/>
                </a:cubicBezTo>
                <a:cubicBezTo>
                  <a:pt x="24" y="189"/>
                  <a:pt x="24" y="189"/>
                  <a:pt x="24" y="189"/>
                </a:cubicBezTo>
                <a:cubicBezTo>
                  <a:pt x="22" y="193"/>
                  <a:pt x="18" y="195"/>
                  <a:pt x="14" y="19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BD83303-64DB-4155-A239-5D0D737F0B38}"/>
              </a:ext>
            </a:extLst>
          </p:cNvPr>
          <p:cNvGrpSpPr/>
          <p:nvPr userDrawn="1"/>
        </p:nvGrpSpPr>
        <p:grpSpPr>
          <a:xfrm>
            <a:off x="5655736" y="1357761"/>
            <a:ext cx="880533" cy="783331"/>
            <a:chOff x="5046133" y="896938"/>
            <a:chExt cx="733425" cy="652463"/>
          </a:xfrm>
          <a:solidFill>
            <a:srgbClr val="FFFFFF"/>
          </a:solidFill>
        </p:grpSpPr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109598A-4181-46AD-B31A-AE565CFA82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046133" y="896938"/>
              <a:ext cx="733425" cy="652463"/>
            </a:xfrm>
            <a:custGeom>
              <a:avLst/>
              <a:gdLst>
                <a:gd name="T0" fmla="*/ 187 w 374"/>
                <a:gd name="T1" fmla="*/ 24 h 332"/>
                <a:gd name="T2" fmla="*/ 201 w 374"/>
                <a:gd name="T3" fmla="*/ 32 h 332"/>
                <a:gd name="T4" fmla="*/ 346 w 374"/>
                <a:gd name="T5" fmla="*/ 284 h 332"/>
                <a:gd name="T6" fmla="*/ 332 w 374"/>
                <a:gd name="T7" fmla="*/ 308 h 332"/>
                <a:gd name="T8" fmla="*/ 42 w 374"/>
                <a:gd name="T9" fmla="*/ 308 h 332"/>
                <a:gd name="T10" fmla="*/ 28 w 374"/>
                <a:gd name="T11" fmla="*/ 284 h 332"/>
                <a:gd name="T12" fmla="*/ 173 w 374"/>
                <a:gd name="T13" fmla="*/ 32 h 332"/>
                <a:gd name="T14" fmla="*/ 187 w 374"/>
                <a:gd name="T15" fmla="*/ 24 h 332"/>
                <a:gd name="T16" fmla="*/ 187 w 374"/>
                <a:gd name="T17" fmla="*/ 0 h 332"/>
                <a:gd name="T18" fmla="*/ 152 w 374"/>
                <a:gd name="T19" fmla="*/ 20 h 332"/>
                <a:gd name="T20" fmla="*/ 7 w 374"/>
                <a:gd name="T21" fmla="*/ 272 h 332"/>
                <a:gd name="T22" fmla="*/ 7 w 374"/>
                <a:gd name="T23" fmla="*/ 312 h 332"/>
                <a:gd name="T24" fmla="*/ 42 w 374"/>
                <a:gd name="T25" fmla="*/ 332 h 332"/>
                <a:gd name="T26" fmla="*/ 332 w 374"/>
                <a:gd name="T27" fmla="*/ 332 h 332"/>
                <a:gd name="T28" fmla="*/ 367 w 374"/>
                <a:gd name="T29" fmla="*/ 312 h 332"/>
                <a:gd name="T30" fmla="*/ 367 w 374"/>
                <a:gd name="T31" fmla="*/ 272 h 332"/>
                <a:gd name="T32" fmla="*/ 222 w 374"/>
                <a:gd name="T33" fmla="*/ 20 h 332"/>
                <a:gd name="T34" fmla="*/ 187 w 374"/>
                <a:gd name="T35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4" h="332">
                  <a:moveTo>
                    <a:pt x="187" y="24"/>
                  </a:moveTo>
                  <a:cubicBezTo>
                    <a:pt x="192" y="24"/>
                    <a:pt x="198" y="27"/>
                    <a:pt x="201" y="32"/>
                  </a:cubicBezTo>
                  <a:cubicBezTo>
                    <a:pt x="346" y="284"/>
                    <a:pt x="346" y="284"/>
                    <a:pt x="346" y="284"/>
                  </a:cubicBezTo>
                  <a:cubicBezTo>
                    <a:pt x="352" y="294"/>
                    <a:pt x="344" y="308"/>
                    <a:pt x="332" y="308"/>
                  </a:cubicBezTo>
                  <a:cubicBezTo>
                    <a:pt x="42" y="308"/>
                    <a:pt x="42" y="308"/>
                    <a:pt x="42" y="308"/>
                  </a:cubicBezTo>
                  <a:cubicBezTo>
                    <a:pt x="29" y="308"/>
                    <a:pt x="21" y="294"/>
                    <a:pt x="28" y="284"/>
                  </a:cubicBezTo>
                  <a:cubicBezTo>
                    <a:pt x="173" y="32"/>
                    <a:pt x="173" y="32"/>
                    <a:pt x="173" y="32"/>
                  </a:cubicBezTo>
                  <a:cubicBezTo>
                    <a:pt x="176" y="27"/>
                    <a:pt x="181" y="24"/>
                    <a:pt x="187" y="24"/>
                  </a:cubicBezTo>
                  <a:moveTo>
                    <a:pt x="187" y="0"/>
                  </a:moveTo>
                  <a:cubicBezTo>
                    <a:pt x="172" y="0"/>
                    <a:pt x="159" y="8"/>
                    <a:pt x="152" y="20"/>
                  </a:cubicBezTo>
                  <a:cubicBezTo>
                    <a:pt x="7" y="272"/>
                    <a:pt x="7" y="272"/>
                    <a:pt x="7" y="272"/>
                  </a:cubicBezTo>
                  <a:cubicBezTo>
                    <a:pt x="0" y="284"/>
                    <a:pt x="0" y="299"/>
                    <a:pt x="7" y="312"/>
                  </a:cubicBezTo>
                  <a:cubicBezTo>
                    <a:pt x="14" y="324"/>
                    <a:pt x="27" y="332"/>
                    <a:pt x="42" y="332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46" y="332"/>
                    <a:pt x="359" y="324"/>
                    <a:pt x="367" y="312"/>
                  </a:cubicBezTo>
                  <a:cubicBezTo>
                    <a:pt x="374" y="299"/>
                    <a:pt x="374" y="284"/>
                    <a:pt x="367" y="272"/>
                  </a:cubicBezTo>
                  <a:cubicBezTo>
                    <a:pt x="222" y="20"/>
                    <a:pt x="222" y="20"/>
                    <a:pt x="222" y="20"/>
                  </a:cubicBezTo>
                  <a:cubicBezTo>
                    <a:pt x="214" y="8"/>
                    <a:pt x="201" y="0"/>
                    <a:pt x="18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E0C7EED-60F5-4F6C-91A7-D4CFB8BCAE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81096" y="1139826"/>
              <a:ext cx="61913" cy="261938"/>
            </a:xfrm>
            <a:custGeom>
              <a:avLst/>
              <a:gdLst>
                <a:gd name="T0" fmla="*/ 16 w 32"/>
                <a:gd name="T1" fmla="*/ 101 h 133"/>
                <a:gd name="T2" fmla="*/ 32 w 32"/>
                <a:gd name="T3" fmla="*/ 117 h 133"/>
                <a:gd name="T4" fmla="*/ 16 w 32"/>
                <a:gd name="T5" fmla="*/ 133 h 133"/>
                <a:gd name="T6" fmla="*/ 0 w 32"/>
                <a:gd name="T7" fmla="*/ 117 h 133"/>
                <a:gd name="T8" fmla="*/ 16 w 32"/>
                <a:gd name="T9" fmla="*/ 101 h 133"/>
                <a:gd name="T10" fmla="*/ 1 w 32"/>
                <a:gd name="T11" fmla="*/ 0 h 133"/>
                <a:gd name="T12" fmla="*/ 31 w 32"/>
                <a:gd name="T13" fmla="*/ 0 h 133"/>
                <a:gd name="T14" fmla="*/ 27 w 32"/>
                <a:gd name="T15" fmla="*/ 88 h 133"/>
                <a:gd name="T16" fmla="*/ 5 w 32"/>
                <a:gd name="T17" fmla="*/ 88 h 133"/>
                <a:gd name="T18" fmla="*/ 1 w 32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133">
                  <a:moveTo>
                    <a:pt x="16" y="101"/>
                  </a:moveTo>
                  <a:cubicBezTo>
                    <a:pt x="24" y="101"/>
                    <a:pt x="32" y="108"/>
                    <a:pt x="32" y="117"/>
                  </a:cubicBezTo>
                  <a:cubicBezTo>
                    <a:pt x="32" y="125"/>
                    <a:pt x="24" y="133"/>
                    <a:pt x="16" y="133"/>
                  </a:cubicBezTo>
                  <a:cubicBezTo>
                    <a:pt x="7" y="133"/>
                    <a:pt x="0" y="125"/>
                    <a:pt x="0" y="117"/>
                  </a:cubicBezTo>
                  <a:cubicBezTo>
                    <a:pt x="0" y="108"/>
                    <a:pt x="7" y="101"/>
                    <a:pt x="16" y="101"/>
                  </a:cubicBezTo>
                  <a:close/>
                  <a:moveTo>
                    <a:pt x="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5" y="88"/>
                    <a:pt x="5" y="88"/>
                    <a:pt x="5" y="88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1595957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D8ED041-FD56-485C-A4E2-E7D07DB8FF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5" imgW="475" imgH="476" progId="TCLayout.ActiveDocument.1">
                  <p:embed/>
                </p:oleObj>
              </mc:Choice>
              <mc:Fallback>
                <p:oleObj name="think-cell Slide" r:id="rId5" imgW="475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D8ED041-FD56-485C-A4E2-E7D07DB8FF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C916D1-DDD8-4358-AE52-9037120C37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08000" y="6375860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673599" y="6375860"/>
            <a:ext cx="2844800" cy="365125"/>
          </a:xfrm>
          <a:prstGeom prst="rect">
            <a:avLst/>
          </a:prstGeom>
        </p:spPr>
        <p:txBody>
          <a:bodyPr/>
          <a:lstStyle>
            <a:lvl1pPr algn="ctr">
              <a:defRPr sz="1067"/>
            </a:lvl1pPr>
          </a:lstStyle>
          <a:p>
            <a:fld id="{1DEE6D40-568E-4C8B-B20B-CF91AA19B8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261DFA04-AEFE-471B-9702-9C760AB5F3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3777" y="768096"/>
            <a:ext cx="11291825" cy="45720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0000"/>
              </a:lnSpc>
              <a:defRPr lang="en-US" sz="2400" b="0" cap="none" dirty="0">
                <a:solidFill>
                  <a:srgbClr val="1F497D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/>
              <a:t>Click to edit subtitle</a:t>
            </a:r>
          </a:p>
        </p:txBody>
      </p:sp>
      <p:sp>
        <p:nvSpPr>
          <p:cNvPr id="10" name="Title Placeholder 16">
            <a:extLst>
              <a:ext uri="{FF2B5EF4-FFF2-40B4-BE49-F238E27FC236}">
                <a16:creationId xmlns:a16="http://schemas.microsoft.com/office/drawing/2014/main" id="{5AC952E4-0852-4E4B-8752-72C1D9BC98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9"/>
            <a:ext cx="11204448" cy="649447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16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8248" y="1600201"/>
            <a:ext cx="11084153" cy="4525963"/>
          </a:xfrm>
        </p:spPr>
        <p:txBody>
          <a:bodyPr>
            <a:normAutofit/>
          </a:bodyPr>
          <a:lstStyle>
            <a:lvl1pPr marL="302668" indent="-302668">
              <a:defRPr sz="29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759846" indent="-378865">
              <a:defRPr sz="2667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1140826" indent="-302668">
              <a:buSzPct val="90000"/>
              <a:buFont typeface="Wingdings" panose="05000000000000000000" pitchFamily="2" charset="2"/>
              <a:buChar char="§"/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120" indent="-380981"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1978985" indent="-300551"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08000" y="6375860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673599" y="6375860"/>
            <a:ext cx="2844800" cy="365125"/>
          </a:xfrm>
          <a:prstGeom prst="rect">
            <a:avLst/>
          </a:prstGeom>
        </p:spPr>
        <p:txBody>
          <a:bodyPr/>
          <a:lstStyle>
            <a:lvl1pPr algn="ctr">
              <a:defRPr sz="1067"/>
            </a:lvl1pPr>
          </a:lstStyle>
          <a:p>
            <a:fld id="{1DEE6D40-568E-4C8B-B20B-CF91AA19B8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52F3B07-E6A4-4134-95B0-43406102CD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3840"/>
            <a:ext cx="11481904" cy="49566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8344089D-87C3-483F-BF1E-FEF2C249D6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761" y="768096"/>
            <a:ext cx="11419841" cy="45720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0000"/>
              </a:lnSpc>
              <a:defRPr lang="en-US" sz="1780" b="0" cap="none" dirty="0">
                <a:solidFill>
                  <a:srgbClr val="1F497D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62666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2901" y="521243"/>
            <a:ext cx="11506201" cy="70539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2900" y="1591449"/>
            <a:ext cx="11506200" cy="435133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6"/>
              </a:buClr>
              <a:defRPr sz="3200">
                <a:latin typeface="+mj-lt"/>
              </a:defRPr>
            </a:lvl1pPr>
            <a:lvl2pPr marL="685783" indent="-228594">
              <a:buFont typeface="Arial" panose="020B0604020202020204" pitchFamily="34" charset="0"/>
              <a:buChar char="•"/>
              <a:defRPr sz="2800"/>
            </a:lvl2pPr>
            <a:lvl3pPr marL="1142971" indent="-228594">
              <a:buFont typeface="MetaMediumLF-Roman" panose="020B0602040000020004" pitchFamily="34" charset="0"/>
              <a:buChar char="–"/>
              <a:defRPr/>
            </a:lvl3pPr>
            <a:lvl4pPr marL="1600160" indent="-228594">
              <a:buFont typeface="MetaMediumLF-Roman" panose="020B0602040000020004" pitchFamily="34" charset="0"/>
              <a:buChar char="–"/>
              <a:defRPr/>
            </a:lvl4pPr>
            <a:lvl5pPr marL="2057349" indent="-228594">
              <a:buFont typeface="MetaMediumLF-Roman" panose="020B0602040000020004" pitchFamily="34" charset="0"/>
              <a:buChar char="–"/>
              <a:defRPr/>
            </a:lvl5pPr>
          </a:lstStyle>
          <a:p>
            <a:pPr lvl="0"/>
            <a:r>
              <a:rPr lang="en-US"/>
              <a:t>Click to add first tex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24568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08000" y="6375860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0E936AC-DBC7-482D-809A-CC413F23A8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43840"/>
            <a:ext cx="11480800" cy="49566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261DFA04-AEFE-471B-9702-9C760AB5F3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762" y="768096"/>
            <a:ext cx="11419841" cy="45720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0000"/>
              </a:lnSpc>
              <a:defRPr lang="en-US" sz="1780" b="0" cap="none" dirty="0">
                <a:solidFill>
                  <a:srgbClr val="1F497D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/>
              <a:t>Click to edit sub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4348C9A-FDDC-4E76-901D-8C78516903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73599" y="6581192"/>
            <a:ext cx="2844800" cy="365125"/>
          </a:xfrm>
          <a:prstGeom prst="rect">
            <a:avLst/>
          </a:prstGeom>
        </p:spPr>
        <p:txBody>
          <a:bodyPr/>
          <a:lstStyle>
            <a:lvl1pPr algn="ctr">
              <a:defRPr sz="1067"/>
            </a:lvl1pPr>
          </a:lstStyle>
          <a:p>
            <a:fld id="{1DEE6D40-568E-4C8B-B20B-CF91AA19B8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72811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9B1E174-6AB6-4FB5-9BF5-AB5031CB1BF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</p:spTree>
    <p:extLst>
      <p:ext uri="{BB962C8B-B14F-4D97-AF65-F5344CB8AC3E}">
        <p14:creationId xmlns:p14="http://schemas.microsoft.com/office/powerpoint/2010/main" val="1786570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43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7E17AA7-F3F1-49B4-A2C5-20959D912E6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466376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B01C665-1F2E-4EDF-B534-19854A4246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43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321711"/>
            <a:ext cx="11204448" cy="4854722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FEB39AE9-5DF7-4559-BF45-1F85B894C81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D22347-DCD7-44B7-8B37-3A074369084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5422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py with Subtitle (single column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D58B0DD-E1C2-46CA-B148-DCD26BD2E7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776" y="167677"/>
            <a:ext cx="11204448" cy="89797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Placeholder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1EF8FE3-90FC-4CE2-A861-BBB367FA5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3776" y="1871133"/>
            <a:ext cx="11204448" cy="4305300"/>
          </a:xfrm>
          <a:prstGeom prst="rect">
            <a:avLst/>
          </a:prstGeom>
        </p:spPr>
        <p:txBody>
          <a:bodyPr tIns="0">
            <a:noAutofit/>
          </a:bodyPr>
          <a:lstStyle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4B0CAA-EEE3-4C6E-B655-8905CBF48B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3776" y="1112426"/>
            <a:ext cx="11204448" cy="418570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holder sub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BAAE843-C1BA-4C3F-8097-5C8F3380C250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794498" y="6515709"/>
            <a:ext cx="3944940" cy="206216"/>
          </a:xfrm>
        </p:spPr>
        <p:txBody>
          <a:bodyPr vert="horz" lIns="0" tIns="0" rIns="0" bIns="0" rtlCol="0" anchor="ctr">
            <a:noAutofit/>
          </a:bodyPr>
          <a:lstStyle>
            <a:lvl1pPr algn="r">
              <a:defRPr kumimoji="0" lang="en-US" sz="800" i="0" u="none" strike="noStrike" cap="none" spc="0" normalizeH="0" baseline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 algn="r" eaLnBrk="1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Place footer text in this spa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8EEFF8-5965-4631-9A29-8825AB38259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69964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image" Target="../media/image8.png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image" Target="../media/image16.emf"/><Relationship Id="rId3" Type="http://schemas.openxmlformats.org/officeDocument/2006/relationships/slideLayout" Target="../slideLayouts/slideLayout52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tags" Target="../tags/tag1.xml"/><Relationship Id="rId28" Type="http://schemas.openxmlformats.org/officeDocument/2006/relationships/image" Target="../media/image18.png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vmlDrawing" Target="../drawings/vmlDrawing1.vml"/><Relationship Id="rId27" Type="http://schemas.openxmlformats.org/officeDocument/2006/relationships/image" Target="../media/image17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A9EF9085-2652-4F8A-8E20-FE186217C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776" y="6515710"/>
            <a:ext cx="1467106" cy="20682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CI Proprietary and Confidentia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20463F-B296-48A2-8B4F-20A01E676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776" y="1321711"/>
            <a:ext cx="11204448" cy="4855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439D7FD4-A5EE-4C7C-950C-AF20BA5F1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0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05A1D9-4FF0-424F-8965-1733D133AAF3}"/>
              </a:ext>
            </a:extLst>
          </p:cNvPr>
          <p:cNvSpPr>
            <a:spLocks/>
          </p:cNvSpPr>
          <p:nvPr userDrawn="1"/>
        </p:nvSpPr>
        <p:spPr bwMode="auto">
          <a:xfrm>
            <a:off x="5927527" y="6515709"/>
            <a:ext cx="336947" cy="206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1pPr>
            <a:lvl2pPr marL="742950" indent="-28575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2pPr>
            <a:lvl3pPr marL="11430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3pPr>
            <a:lvl4pPr marL="16002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4pPr>
            <a:lvl5pPr marL="20574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5pPr>
            <a:lvl6pPr marL="25146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6pPr>
            <a:lvl7pPr marL="29718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7pPr>
            <a:lvl8pPr marL="34290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8pPr>
            <a:lvl9pPr marL="38862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9pPr>
          </a:lstStyle>
          <a:p>
            <a:pPr algn="ctr" defTabSz="685800" fontAlgn="base" hangingPunct="0">
              <a:spcBef>
                <a:spcPct val="0"/>
              </a:spcBef>
              <a:spcAft>
                <a:spcPct val="0"/>
              </a:spcAft>
            </a:pPr>
            <a:fld id="{4A8294F5-3876-0A48-B245-F7D64BCA98A8}" type="slidenum">
              <a:rPr lang="uk-UA" altLang="en-US" sz="800">
                <a:solidFill>
                  <a:schemeClr val="bg1">
                    <a:lumMod val="65000"/>
                  </a:schemeClr>
                </a:solidFill>
                <a:latin typeface="+mn-lt"/>
                <a:ea typeface="Proxima Nova" charset="0"/>
                <a:cs typeface="Proxima Nova" charset="0"/>
                <a:sym typeface="Proxima Nova" charset="0"/>
              </a:rPr>
              <a:pPr algn="ctr" defTabSz="68580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800">
              <a:solidFill>
                <a:schemeClr val="bg1">
                  <a:lumMod val="65000"/>
                </a:schemeClr>
              </a:solidFill>
              <a:latin typeface="+mn-lt"/>
              <a:ea typeface="Proxima Nova" charset="0"/>
              <a:cs typeface="Proxima Nova" charset="0"/>
              <a:sym typeface="Proxima Nova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280378F-C531-45BA-AE93-33689EC7F776}"/>
              </a:ext>
            </a:extLst>
          </p:cNvPr>
          <p:cNvSpPr/>
          <p:nvPr userDrawn="1"/>
        </p:nvSpPr>
        <p:spPr>
          <a:xfrm>
            <a:off x="493777" y="6398436"/>
            <a:ext cx="9762646" cy="45719"/>
          </a:xfrm>
          <a:prstGeom prst="rect">
            <a:avLst/>
          </a:prstGeom>
          <a:gradFill>
            <a:gsLst>
              <a:gs pos="0">
                <a:srgbClr val="00B3F4"/>
              </a:gs>
              <a:gs pos="100000">
                <a:srgbClr val="002F87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1834803-1016-47E9-A170-A4DE62165874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3685" y="6241518"/>
            <a:ext cx="1274538" cy="359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414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18" r:id="rId2"/>
    <p:sldLayoutId id="2147483772" r:id="rId3"/>
    <p:sldLayoutId id="2147483780" r:id="rId4"/>
    <p:sldLayoutId id="2147483773" r:id="rId5"/>
    <p:sldLayoutId id="2147483753" r:id="rId6"/>
    <p:sldLayoutId id="2147483699" r:id="rId7"/>
    <p:sldLayoutId id="2147483768" r:id="rId8"/>
    <p:sldLayoutId id="2147483776" r:id="rId9"/>
    <p:sldLayoutId id="2147483770" r:id="rId10"/>
    <p:sldLayoutId id="2147483700" r:id="rId11"/>
    <p:sldLayoutId id="2147483702" r:id="rId12"/>
    <p:sldLayoutId id="2147483760" r:id="rId13"/>
    <p:sldLayoutId id="2147483752" r:id="rId14"/>
    <p:sldLayoutId id="2147483771" r:id="rId15"/>
    <p:sldLayoutId id="2147483775" r:id="rId16"/>
    <p:sldLayoutId id="2147483762" r:id="rId17"/>
    <p:sldLayoutId id="2147483755" r:id="rId18"/>
    <p:sldLayoutId id="2147483749" r:id="rId19"/>
    <p:sldLayoutId id="2147483769" r:id="rId20"/>
    <p:sldLayoutId id="2147483774" r:id="rId21"/>
    <p:sldLayoutId id="2147483711" r:id="rId22"/>
    <p:sldLayoutId id="2147483750" r:id="rId23"/>
    <p:sldLayoutId id="2147483781" r:id="rId24"/>
    <p:sldLayoutId id="2147483808" r:id="rId25"/>
    <p:sldLayoutId id="2147483836" r:id="rId26"/>
    <p:sldLayoutId id="2147483837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0" lang="en-US" sz="4300" b="0" i="0" u="none" strike="noStrike" kern="1200" cap="none" spc="0" normalizeH="0" baseline="0" smtClean="0">
          <a:ln>
            <a:noFill/>
          </a:ln>
          <a:solidFill>
            <a:schemeClr val="accent2"/>
          </a:solidFill>
          <a:effectLst/>
          <a:uLnTx/>
          <a:uFillTx/>
          <a:latin typeface="Calibri" panose="020F0502020204030204" pitchFamily="34" charset="0"/>
          <a:ea typeface="+mj-ea"/>
          <a:cs typeface="Calibri" panose="020F0502020204030204" pitchFamily="34" charset="0"/>
          <a:sym typeface="Proxima Nova Black" charset="0"/>
        </a:defRPr>
      </a:lvl1pPr>
      <a:lvl2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2pPr>
      <a:lvl3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3pPr>
      <a:lvl4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4pPr>
      <a:lvl5pPr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5pPr>
      <a:lvl6pPr marL="228594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6pPr>
      <a:lvl7pPr marL="457189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7pPr>
      <a:lvl8pPr marL="685783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8pPr>
      <a:lvl9pPr marL="914377" algn="l" defTabSz="91437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9pPr>
    </p:titleStyle>
    <p:bodyStyle>
      <a:lvl1pPr marL="0" indent="0" algn="l" defTabSz="914377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​"/>
        <a:defRPr lang="en-US" sz="2000" b="0" kern="1200" dirty="0">
          <a:solidFill>
            <a:schemeClr val="tx1">
              <a:lumMod val="65000"/>
              <a:lumOff val="35000"/>
            </a:schemeClr>
          </a:solidFill>
          <a:latin typeface="Calibri Light" panose="020F0302020204030204" pitchFamily="34" charset="0"/>
          <a:ea typeface="+mn-ea"/>
          <a:cs typeface="Calibri Light" panose="020F0302020204030204" pitchFamily="34" charset="0"/>
          <a:sym typeface="Proxima Nova" charset="0"/>
        </a:defRPr>
      </a:lvl1pPr>
      <a:lvl2pPr marL="228594" indent="-228594" algn="l" defTabSz="914377" rtl="0" eaLnBrk="1" fontAlgn="base" hangingPunct="1">
        <a:lnSpc>
          <a:spcPct val="90000"/>
        </a:lnSpc>
        <a:spcBef>
          <a:spcPts val="667"/>
        </a:spcBef>
        <a:spcAft>
          <a:spcPts val="267"/>
        </a:spcAft>
        <a:buSzPct val="100000"/>
        <a:buFont typeface="Arial" panose="020B0604020202020204" pitchFamily="34" charset="0"/>
        <a:buChar char="•"/>
        <a:defRPr sz="16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2pPr>
      <a:lvl3pPr marL="455613" indent="-225425" algn="l" defTabSz="914377" rtl="0" eaLnBrk="1" fontAlgn="base" hangingPunct="1">
        <a:lnSpc>
          <a:spcPct val="85000"/>
        </a:lnSpc>
        <a:spcBef>
          <a:spcPts val="4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70000"/>
        <a:buFont typeface="Arial" panose="020B0604020202020204" pitchFamily="34" charset="0"/>
        <a:buChar char="̵"/>
        <a:defRPr sz="14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3pPr>
      <a:lvl4pPr marL="0" indent="0" algn="l" defTabSz="914377" rtl="0" eaLnBrk="1" fontAlgn="base" hangingPunct="1">
        <a:lnSpc>
          <a:spcPct val="90000"/>
        </a:lnSpc>
        <a:spcBef>
          <a:spcPts val="12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80000"/>
        <a:buFont typeface="Courier New" panose="02070309020205020404" pitchFamily="49" charset="0"/>
        <a:buNone/>
        <a:defRPr sz="2400" b="1" i="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4pPr>
      <a:lvl5pPr marL="0" indent="0" algn="l" defTabSz="914377" rtl="0" eaLnBrk="1" fontAlgn="base" hangingPunct="1">
        <a:lnSpc>
          <a:spcPct val="90000"/>
        </a:lnSpc>
        <a:spcBef>
          <a:spcPts val="1200"/>
        </a:spcBef>
        <a:spcAft>
          <a:spcPts val="267"/>
        </a:spcAft>
        <a:buSzPct val="80000"/>
        <a:buFont typeface="Wingdings" panose="05000000000000000000" pitchFamily="2" charset="2"/>
        <a:buNone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5pPr>
      <a:lvl6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sz="2000" b="0" kern="1200" cap="none" spc="0" baseline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6pPr>
      <a:lvl7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 smtClean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8pPr>
      <a:lvl9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9pPr>
    </p:bodyStyle>
    <p:otherStyle>
      <a:defPPr>
        <a:defRPr lang="en-US"/>
      </a:defPPr>
      <a:lvl1pPr marL="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1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8BBF20A-72E5-4AC2-ABE3-AA88B907C8DE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1934" y="6259494"/>
            <a:ext cx="749808" cy="277430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20463F-B296-48A2-8B4F-20A01E676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776" y="1321711"/>
            <a:ext cx="11204448" cy="4855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439D7FD4-A5EE-4C7C-950C-AF20BA5F1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0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A9EF9085-2652-4F8A-8E20-FE186217C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ltGray">
          <a:xfrm>
            <a:off x="489727" y="6515709"/>
            <a:ext cx="1471154" cy="2068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CI Proprietary and Confidentia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05A1D9-4FF0-424F-8965-1733D133AAF3}"/>
              </a:ext>
            </a:extLst>
          </p:cNvPr>
          <p:cNvSpPr>
            <a:spLocks/>
          </p:cNvSpPr>
          <p:nvPr userDrawn="1"/>
        </p:nvSpPr>
        <p:spPr bwMode="ltGray">
          <a:xfrm>
            <a:off x="5927527" y="6515709"/>
            <a:ext cx="336947" cy="206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1pPr>
            <a:lvl2pPr marL="742950" indent="-28575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2pPr>
            <a:lvl3pPr marL="11430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3pPr>
            <a:lvl4pPr marL="16002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4pPr>
            <a:lvl5pPr marL="20574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5pPr>
            <a:lvl6pPr marL="25146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6pPr>
            <a:lvl7pPr marL="29718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7pPr>
            <a:lvl8pPr marL="34290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8pPr>
            <a:lvl9pPr marL="38862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9pPr>
          </a:lstStyle>
          <a:p>
            <a:pPr algn="ctr" defTabSz="685800" fontAlgn="base" hangingPunct="0">
              <a:spcBef>
                <a:spcPct val="0"/>
              </a:spcBef>
              <a:spcAft>
                <a:spcPct val="0"/>
              </a:spcAft>
            </a:pPr>
            <a:fld id="{4A8294F5-3876-0A48-B245-F7D64BCA98A8}" type="slidenum">
              <a:rPr lang="uk-UA" altLang="en-US" sz="800">
                <a:solidFill>
                  <a:schemeClr val="bg1">
                    <a:lumMod val="65000"/>
                  </a:schemeClr>
                </a:solidFill>
                <a:latin typeface="+mn-lt"/>
                <a:ea typeface="Proxima Nova" charset="0"/>
                <a:cs typeface="Proxima Nova" charset="0"/>
                <a:sym typeface="Proxima Nova" charset="0"/>
              </a:rPr>
              <a:pPr algn="ctr" defTabSz="68580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800">
              <a:solidFill>
                <a:schemeClr val="bg1">
                  <a:lumMod val="65000"/>
                </a:schemeClr>
              </a:solidFill>
              <a:latin typeface="+mn-lt"/>
              <a:ea typeface="Proxima Nova" charset="0"/>
              <a:cs typeface="Proxima Nova" charset="0"/>
              <a:sym typeface="Proxima Nova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61A87E-B7D3-440D-9E6F-68EF445B7FC2}"/>
              </a:ext>
            </a:extLst>
          </p:cNvPr>
          <p:cNvSpPr/>
          <p:nvPr userDrawn="1"/>
        </p:nvSpPr>
        <p:spPr>
          <a:xfrm>
            <a:off x="489726" y="6398435"/>
            <a:ext cx="10252929" cy="45719"/>
          </a:xfrm>
          <a:prstGeom prst="rect">
            <a:avLst/>
          </a:prstGeom>
          <a:gradFill>
            <a:gsLst>
              <a:gs pos="0">
                <a:srgbClr val="009AE0"/>
              </a:gs>
              <a:gs pos="100000">
                <a:srgbClr val="00A846"/>
              </a:gs>
            </a:gsLst>
            <a:lin ang="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341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795" r:id="rId13"/>
    <p:sldLayoutId id="2147483796" r:id="rId14"/>
    <p:sldLayoutId id="2147483797" r:id="rId15"/>
    <p:sldLayoutId id="2147483798" r:id="rId16"/>
    <p:sldLayoutId id="2147483799" r:id="rId17"/>
    <p:sldLayoutId id="2147483800" r:id="rId18"/>
    <p:sldLayoutId id="2147483801" r:id="rId19"/>
    <p:sldLayoutId id="2147483802" r:id="rId20"/>
    <p:sldLayoutId id="2147483803" r:id="rId21"/>
    <p:sldLayoutId id="2147483804" r:id="rId22"/>
  </p:sldLayoutIdLst>
  <p:hf sldNum="0" hdr="0" ftr="0" dt="0"/>
  <p:txStyles>
    <p:titleStyle>
      <a:lvl1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kumimoji="0" lang="en-US" sz="3600" b="0" i="0" u="none" strike="noStrike" kern="1200" cap="none" spc="0" normalizeH="0" baseline="0" smtClean="0">
          <a:ln>
            <a:noFill/>
          </a:ln>
          <a:solidFill>
            <a:schemeClr val="accent2"/>
          </a:solidFill>
          <a:effectLst/>
          <a:uLnTx/>
          <a:uFillTx/>
          <a:latin typeface="Calibri" panose="020F0502020204030204" pitchFamily="34" charset="0"/>
          <a:ea typeface="+mj-ea"/>
          <a:cs typeface="Calibri" panose="020F0502020204030204" pitchFamily="34" charset="0"/>
          <a:sym typeface="Proxima Nova Black" charset="0"/>
        </a:defRPr>
      </a:lvl1pPr>
      <a:lvl2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2pPr>
      <a:lvl3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3pPr>
      <a:lvl4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4pPr>
      <a:lvl5pPr algn="l" defTabSz="914377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5pPr>
      <a:lvl6pPr marL="228594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6pPr>
      <a:lvl7pPr marL="457189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7pPr>
      <a:lvl8pPr marL="685783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8pPr>
      <a:lvl9pPr marL="914377" algn="l" defTabSz="914377" rtl="0" fontAlgn="base" hangingPunct="0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9pPr>
    </p:titleStyle>
    <p:bodyStyle>
      <a:lvl1pPr marL="0" indent="0" algn="l" defTabSz="914377" rtl="0" eaLnBrk="0" fontAlgn="base" hangingPunct="0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​"/>
        <a:defRPr lang="en-US" sz="2000" b="0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Calibri Light" panose="020F0302020204030204" pitchFamily="34" charset="0"/>
          <a:sym typeface="Proxima Nova" charset="0"/>
        </a:defRPr>
      </a:lvl1pPr>
      <a:lvl2pPr marL="228594" indent="-228594" algn="l" defTabSz="914377" rtl="0" eaLnBrk="0" fontAlgn="base" hangingPunct="0">
        <a:lnSpc>
          <a:spcPct val="90000"/>
        </a:lnSpc>
        <a:spcBef>
          <a:spcPts val="667"/>
        </a:spcBef>
        <a:spcAft>
          <a:spcPts val="267"/>
        </a:spcAft>
        <a:buSzPct val="100000"/>
        <a:buFont typeface="Arial" panose="020B0604020202020204" pitchFamily="34" charset="0"/>
        <a:buChar char="•"/>
        <a:defRPr sz="16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2pPr>
      <a:lvl3pPr marL="455613" indent="-225425" algn="l" defTabSz="914377" rtl="0" eaLnBrk="0" fontAlgn="base" hangingPunct="0">
        <a:lnSpc>
          <a:spcPct val="85000"/>
        </a:lnSpc>
        <a:spcBef>
          <a:spcPts val="4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70000"/>
        <a:buFont typeface="Arial" panose="020B0604020202020204" pitchFamily="34" charset="0"/>
        <a:buChar char="̵"/>
        <a:defRPr sz="1400" b="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3pPr>
      <a:lvl4pPr marL="0" indent="0" algn="l" defTabSz="914377" rtl="0" eaLnBrk="0" fontAlgn="base" hangingPunct="0">
        <a:lnSpc>
          <a:spcPct val="90000"/>
        </a:lnSpc>
        <a:spcBef>
          <a:spcPts val="120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Segoe UI" panose="020B0502040204020203" pitchFamily="34" charset="0"/>
        <a:buChar char="​"/>
        <a:defRPr sz="2400" b="1" i="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4pPr>
      <a:lvl5pPr marL="0" indent="0" algn="l" defTabSz="914377" rtl="0" eaLnBrk="0" fontAlgn="base" hangingPunct="0">
        <a:lnSpc>
          <a:spcPct val="85000"/>
        </a:lnSpc>
        <a:spcBef>
          <a:spcPts val="1200"/>
        </a:spcBef>
        <a:spcAft>
          <a:spcPts val="0"/>
        </a:spcAft>
        <a:buSzPct val="80000"/>
        <a:buFont typeface="Segoe UI" panose="020B0502040204020203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Proxima Nova" charset="0"/>
        </a:defRPr>
      </a:lvl5pPr>
      <a:lvl6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b="0" kern="1200" cap="none" spc="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6pPr>
      <a:lvl7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8pPr>
      <a:lvl9pPr marL="0" indent="0" algn="l" defTabSz="457189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9pPr>
    </p:bodyStyle>
    <p:otherStyle>
      <a:defPPr>
        <a:defRPr lang="en-US"/>
      </a:defPPr>
      <a:lvl1pPr marL="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1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941E76C-D61A-4ACE-ABB1-9C4C6E8345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25" imgW="475" imgH="476" progId="TCLayout.ActiveDocument.1">
                  <p:embed/>
                </p:oleObj>
              </mc:Choice>
              <mc:Fallback>
                <p:oleObj name="think-cell Slide" r:id="rId25" imgW="475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941E76C-D61A-4ACE-ABB1-9C4C6E8345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D71A9D-C85D-4379-8340-7668E71B8D36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A9EF9085-2652-4F8A-8E20-FE186217CC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777" y="6515711"/>
            <a:ext cx="1467107" cy="20682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65000"/>
                  </a:schemeClr>
                </a:solidFill>
                <a:latin typeface="+mn-lt"/>
                <a:cs typeface="Calibri" panose="020F0502020204030204" pitchFamily="34" charset="0"/>
              </a:defRPr>
            </a:lvl1pPr>
          </a:lstStyle>
          <a:p>
            <a:r>
              <a:rPr lang="en-US"/>
              <a:t>CCI Proprietary and Confidentia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C20463F-B296-48A2-8B4F-20A01E676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3776" y="1321714"/>
            <a:ext cx="11204448" cy="48550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</a:t>
            </a:r>
          </a:p>
          <a:p>
            <a:pPr lvl="6"/>
            <a:r>
              <a:rPr lang="en-US"/>
              <a:t>Seven</a:t>
            </a:r>
          </a:p>
          <a:p>
            <a:pPr lvl="7"/>
            <a:r>
              <a:rPr lang="en-US"/>
              <a:t>Eight</a:t>
            </a:r>
          </a:p>
          <a:p>
            <a:pPr lvl="8"/>
            <a:r>
              <a:rPr lang="en-US"/>
              <a:t>Nine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439D7FD4-A5EE-4C7C-950C-AF20BA5F1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9"/>
            <a:ext cx="11204448" cy="649447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85" name="Picture 384">
            <a:extLst>
              <a:ext uri="{FF2B5EF4-FFF2-40B4-BE49-F238E27FC236}">
                <a16:creationId xmlns:a16="http://schemas.microsoft.com/office/drawing/2014/main" id="{18A9BB46-B46C-463D-A4AC-73CE20F280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"/>
          <a:stretch/>
        </p:blipFill>
        <p:spPr bwMode="ltGray">
          <a:xfrm>
            <a:off x="491550" y="6398439"/>
            <a:ext cx="10252929" cy="4571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305A1D9-4FF0-424F-8965-1733D133AAF3}"/>
              </a:ext>
            </a:extLst>
          </p:cNvPr>
          <p:cNvSpPr>
            <a:spLocks/>
          </p:cNvSpPr>
          <p:nvPr userDrawn="1"/>
        </p:nvSpPr>
        <p:spPr bwMode="auto">
          <a:xfrm>
            <a:off x="5927529" y="6515712"/>
            <a:ext cx="336947" cy="206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>
            <a:lvl1pPr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1pPr>
            <a:lvl2pPr marL="742950" indent="-28575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2pPr>
            <a:lvl3pPr marL="11430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3pPr>
            <a:lvl4pPr marL="16002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4pPr>
            <a:lvl5pPr marL="2057400" indent="-228600"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5pPr>
            <a:lvl6pPr marL="25146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6pPr>
            <a:lvl7pPr marL="29718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7pPr>
            <a:lvl8pPr marL="34290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8pPr>
            <a:lvl9pPr marL="3886200" indent="-228600" defTabSz="18288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222222"/>
                </a:solidFill>
                <a:latin typeface="Proxima Nova Light" charset="0"/>
                <a:ea typeface="Proxima Nova Light" charset="0"/>
                <a:cs typeface="Proxima Nova Light" charset="0"/>
                <a:sym typeface="Proxima Nova Light" charset="0"/>
              </a:defRPr>
            </a:lvl9pPr>
          </a:lstStyle>
          <a:p>
            <a:pPr algn="ctr" defTabSz="685766" fontAlgn="base" hangingPunct="0">
              <a:spcBef>
                <a:spcPct val="0"/>
              </a:spcBef>
              <a:spcAft>
                <a:spcPct val="0"/>
              </a:spcAft>
            </a:pPr>
            <a:fld id="{4A8294F5-3876-0A48-B245-F7D64BCA98A8}" type="slidenum">
              <a:rPr lang="uk-UA" altLang="en-US" sz="800">
                <a:solidFill>
                  <a:schemeClr val="bg1">
                    <a:lumMod val="65000"/>
                  </a:schemeClr>
                </a:solidFill>
                <a:latin typeface="+mn-lt"/>
                <a:ea typeface="Proxima Nova" charset="0"/>
                <a:cs typeface="Proxima Nova" charset="0"/>
                <a:sym typeface="Proxima Nova" charset="0"/>
              </a:rPr>
              <a:pPr algn="ctr" defTabSz="685766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800">
              <a:solidFill>
                <a:schemeClr val="bg1">
                  <a:lumMod val="65000"/>
                </a:schemeClr>
              </a:solidFill>
              <a:latin typeface="+mn-lt"/>
              <a:ea typeface="Proxima Nova" charset="0"/>
              <a:cs typeface="Proxima Nova" charset="0"/>
              <a:sym typeface="Proxima Nova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280378F-C531-45BA-AE93-33689EC7F776}"/>
              </a:ext>
            </a:extLst>
          </p:cNvPr>
          <p:cNvSpPr/>
          <p:nvPr userDrawn="1"/>
        </p:nvSpPr>
        <p:spPr>
          <a:xfrm>
            <a:off x="493776" y="6398439"/>
            <a:ext cx="10250701" cy="45719"/>
          </a:xfrm>
          <a:prstGeom prst="rect">
            <a:avLst/>
          </a:prstGeom>
          <a:gradFill>
            <a:gsLst>
              <a:gs pos="0">
                <a:srgbClr val="00B3F4"/>
              </a:gs>
              <a:gs pos="100000">
                <a:srgbClr val="002F87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9E3E0FFF-275A-43D9-874B-28E4A657C486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9899" y="6280804"/>
            <a:ext cx="718327" cy="411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651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  <p:sldLayoutId id="2147483850" r:id="rId12"/>
    <p:sldLayoutId id="2147483851" r:id="rId13"/>
    <p:sldLayoutId id="2147483852" r:id="rId14"/>
    <p:sldLayoutId id="2147483853" r:id="rId15"/>
    <p:sldLayoutId id="2147483854" r:id="rId16"/>
    <p:sldLayoutId id="2147483855" r:id="rId17"/>
    <p:sldLayoutId id="2147483856" r:id="rId18"/>
    <p:sldLayoutId id="2147483857" r:id="rId19"/>
    <p:sldLayoutId id="2147483858" r:id="rId20"/>
  </p:sldLayoutIdLst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  <p:hf sldNum="0" hdr="0" ftr="0" dt="0"/>
  <p:txStyles>
    <p:titleStyle>
      <a:lvl1pPr algn="l" defTabSz="91433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0" lang="en-US" sz="3600" b="0" i="0" u="none" strike="noStrike" kern="1200" cap="all" spc="0" normalizeH="0" baseline="0" smtClean="0">
          <a:ln>
            <a:noFill/>
          </a:ln>
          <a:solidFill>
            <a:schemeClr val="accent1"/>
          </a:solidFill>
          <a:effectLst/>
          <a:uLnTx/>
          <a:uFillTx/>
          <a:latin typeface="Calibri" panose="020F0502020204030204" pitchFamily="34" charset="0"/>
          <a:ea typeface="+mj-ea"/>
          <a:cs typeface="Calibri" panose="020F0502020204030204" pitchFamily="34" charset="0"/>
          <a:sym typeface="Proxima Nova Black" charset="0"/>
        </a:defRPr>
      </a:lvl1pPr>
      <a:lvl2pPr algn="l" defTabSz="91433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2pPr>
      <a:lvl3pPr algn="l" defTabSz="91433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3pPr>
      <a:lvl4pPr algn="l" defTabSz="91433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4pPr>
      <a:lvl5pPr algn="l" defTabSz="91433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5pPr>
      <a:lvl6pPr marL="228584" algn="l" defTabSz="91433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6pPr>
      <a:lvl7pPr marL="457167" algn="l" defTabSz="91433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7pPr>
      <a:lvl8pPr marL="685750" algn="l" defTabSz="91433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8pPr>
      <a:lvl9pPr marL="914332" algn="l" defTabSz="91433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800">
          <a:solidFill>
            <a:srgbClr val="EE2929"/>
          </a:solidFill>
          <a:latin typeface="Proxima Nova Black" charset="0"/>
          <a:ea typeface="Proxima Nova Black" charset="0"/>
          <a:cs typeface="Proxima Nova Black" charset="0"/>
          <a:sym typeface="Proxima Nova Black" charset="0"/>
        </a:defRPr>
      </a:lvl9pPr>
    </p:titleStyle>
    <p:bodyStyle>
      <a:lvl1pPr marL="0" indent="0" algn="l" defTabSz="914332" rtl="0" eaLnBrk="1" fontAlgn="base" hangingPunct="1">
        <a:lnSpc>
          <a:spcPct val="90000"/>
        </a:lnSpc>
        <a:spcBef>
          <a:spcPts val="1200"/>
        </a:spcBef>
        <a:spcAft>
          <a:spcPts val="0"/>
        </a:spcAft>
        <a:buSzPct val="100000"/>
        <a:buFont typeface="Arial" panose="020B0604020202020204" pitchFamily="34" charset="0"/>
        <a:buChar char="​"/>
        <a:defRPr lang="en-US" sz="2000" b="0" kern="120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 Light" panose="020F0302020204030204" pitchFamily="34" charset="0"/>
          <a:sym typeface="Proxima Nova" charset="0"/>
        </a:defRPr>
      </a:lvl1pPr>
      <a:lvl2pPr marL="228584" indent="-228584" algn="l" defTabSz="914332" rtl="0" eaLnBrk="1" fontAlgn="base" hangingPunct="1">
        <a:lnSpc>
          <a:spcPct val="90000"/>
        </a:lnSpc>
        <a:spcBef>
          <a:spcPts val="667"/>
        </a:spcBef>
        <a:spcAft>
          <a:spcPts val="267"/>
        </a:spcAft>
        <a:buSzPct val="100000"/>
        <a:buFont typeface="Arial" panose="020B0604020202020204" pitchFamily="34" charset="0"/>
        <a:buChar char="•"/>
        <a:defRPr sz="1600" b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  <a:sym typeface="Proxima Nova" charset="0"/>
        </a:defRPr>
      </a:lvl2pPr>
      <a:lvl3pPr marL="455591" indent="-225414" algn="l" defTabSz="914332" rtl="0" eaLnBrk="1" fontAlgn="base" hangingPunct="1">
        <a:lnSpc>
          <a:spcPct val="85000"/>
        </a:lnSpc>
        <a:spcBef>
          <a:spcPts val="4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70000"/>
        <a:buFont typeface="Arial" panose="020B0604020202020204" pitchFamily="34" charset="0"/>
        <a:buChar char="̵"/>
        <a:defRPr sz="1400" b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  <a:sym typeface="Proxima Nova" charset="0"/>
        </a:defRPr>
      </a:lvl3pPr>
      <a:lvl4pPr marL="0" indent="0" algn="l" defTabSz="914332" rtl="0" eaLnBrk="1" fontAlgn="base" hangingPunct="1">
        <a:lnSpc>
          <a:spcPct val="90000"/>
        </a:lnSpc>
        <a:spcBef>
          <a:spcPts val="1200"/>
        </a:spcBef>
        <a:spcAft>
          <a:spcPts val="267"/>
        </a:spcAft>
        <a:buClr>
          <a:schemeClr val="tx1">
            <a:lumMod val="65000"/>
            <a:lumOff val="35000"/>
          </a:schemeClr>
        </a:buClr>
        <a:buSzPct val="80000"/>
        <a:buFont typeface="Courier New" panose="02070309020205020404" pitchFamily="49" charset="0"/>
        <a:buNone/>
        <a:defRPr sz="2400" b="1" i="0" kern="1200">
          <a:solidFill>
            <a:schemeClr val="accent1"/>
          </a:solidFill>
          <a:latin typeface="+mn-lt"/>
          <a:ea typeface="+mn-ea"/>
          <a:cs typeface="Calibri" panose="020F0502020204030204" pitchFamily="34" charset="0"/>
          <a:sym typeface="Proxima Nova" charset="0"/>
        </a:defRPr>
      </a:lvl4pPr>
      <a:lvl5pPr marL="0" indent="0" algn="l" defTabSz="914332" rtl="0" eaLnBrk="1" fontAlgn="base" hangingPunct="1">
        <a:lnSpc>
          <a:spcPct val="90000"/>
        </a:lnSpc>
        <a:spcBef>
          <a:spcPts val="1200"/>
        </a:spcBef>
        <a:spcAft>
          <a:spcPts val="267"/>
        </a:spcAft>
        <a:buSzPct val="80000"/>
        <a:buFont typeface="Wingdings" panose="05000000000000000000" pitchFamily="2" charset="2"/>
        <a:buNone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  <a:sym typeface="Proxima Nova" charset="0"/>
        </a:defRPr>
      </a:lvl5pPr>
      <a:lvl6pPr marL="0" indent="0" algn="l" defTabSz="457167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sz="2000" b="0" kern="1200" cap="none" spc="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6pPr>
      <a:lvl7pPr marL="0" indent="0" algn="l" defTabSz="457167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7pPr>
      <a:lvl8pPr marL="0" indent="0" algn="l" defTabSz="457167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lang="en-US" sz="20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8pPr>
      <a:lvl9pPr marL="0" indent="0" algn="l" defTabSz="457167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Calibri" panose="020F0502020204030204" pitchFamily="34" charset="0"/>
        </a:defRPr>
      </a:lvl9pPr>
    </p:bodyStyle>
    <p:otherStyle>
      <a:defPPr>
        <a:defRPr lang="en-US"/>
      </a:defPPr>
      <a:lvl1pPr marL="0" algn="l" defTabSz="457167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84" algn="l" defTabSz="457167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67" algn="l" defTabSz="457167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50" algn="l" defTabSz="457167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32" algn="l" defTabSz="457167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14" algn="l" defTabSz="457167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498" algn="l" defTabSz="457167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080" algn="l" defTabSz="457167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664" algn="l" defTabSz="457167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" Target="slide5.xml"/><Relationship Id="rId7" Type="http://schemas.openxmlformats.org/officeDocument/2006/relationships/image" Target="../media/image180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4.xml"/><Relationship Id="rId6" Type="http://schemas.openxmlformats.org/officeDocument/2006/relationships/slide" Target="slide210.xml"/><Relationship Id="rId11" Type="http://schemas.openxmlformats.org/officeDocument/2006/relationships/image" Target="../media/image24.png"/><Relationship Id="rId5" Type="http://schemas.openxmlformats.org/officeDocument/2006/relationships/image" Target="../media/image22.png"/><Relationship Id="rId10" Type="http://schemas.openxmlformats.org/officeDocument/2006/relationships/image" Target="../media/image210.png"/><Relationship Id="rId4" Type="http://schemas.openxmlformats.org/officeDocument/2006/relationships/image" Target="../media/image21.png"/><Relationship Id="rId9" Type="http://schemas.openxmlformats.org/officeDocument/2006/relationships/slide" Target="slide4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80.svg"/><Relationship Id="rId7" Type="http://schemas.openxmlformats.org/officeDocument/2006/relationships/image" Target="../media/image84.sv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3.png"/><Relationship Id="rId11" Type="http://schemas.openxmlformats.org/officeDocument/2006/relationships/image" Target="../media/image88.svg"/><Relationship Id="rId5" Type="http://schemas.openxmlformats.org/officeDocument/2006/relationships/image" Target="../media/image82.svg"/><Relationship Id="rId10" Type="http://schemas.openxmlformats.org/officeDocument/2006/relationships/image" Target="../media/image87.png"/><Relationship Id="rId4" Type="http://schemas.openxmlformats.org/officeDocument/2006/relationships/image" Target="../media/image81.png"/><Relationship Id="rId9" Type="http://schemas.openxmlformats.org/officeDocument/2006/relationships/image" Target="../media/image86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9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7.xml"/><Relationship Id="rId1" Type="http://schemas.openxmlformats.org/officeDocument/2006/relationships/video" Target="https://www.youtube.com/embed/rC-ADdgcafc?start=32&amp;feature=oembed" TargetMode="External"/><Relationship Id="rId4" Type="http://schemas.openxmlformats.org/officeDocument/2006/relationships/image" Target="../media/image94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s://rapidscale.net/wp-content/uploads/2020/11/MDaaS_PriceList.pdf" TargetMode="External"/><Relationship Id="rId1" Type="http://schemas.openxmlformats.org/officeDocument/2006/relationships/slideLayout" Target="../slideLayouts/slideLayout5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6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gif"/><Relationship Id="rId13" Type="http://schemas.openxmlformats.org/officeDocument/2006/relationships/image" Target="../media/image35.png"/><Relationship Id="rId18" Type="http://schemas.openxmlformats.org/officeDocument/2006/relationships/image" Target="../media/image40.jpeg"/><Relationship Id="rId3" Type="http://schemas.openxmlformats.org/officeDocument/2006/relationships/image" Target="../media/image25.png"/><Relationship Id="rId7" Type="http://schemas.openxmlformats.org/officeDocument/2006/relationships/image" Target="../media/image29.jpeg"/><Relationship Id="rId12" Type="http://schemas.openxmlformats.org/officeDocument/2006/relationships/image" Target="../media/image34.png"/><Relationship Id="rId17" Type="http://schemas.openxmlformats.org/officeDocument/2006/relationships/image" Target="../media/image39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5" Type="http://schemas.openxmlformats.org/officeDocument/2006/relationships/image" Target="../media/image37.jpeg"/><Relationship Id="rId10" Type="http://schemas.openxmlformats.org/officeDocument/2006/relationships/image" Target="../media/image32.png"/><Relationship Id="rId19" Type="http://schemas.openxmlformats.org/officeDocument/2006/relationships/image" Target="../media/image41.jpeg"/><Relationship Id="rId4" Type="http://schemas.openxmlformats.org/officeDocument/2006/relationships/image" Target="../media/image26.jpeg"/><Relationship Id="rId9" Type="http://schemas.openxmlformats.org/officeDocument/2006/relationships/image" Target="../media/image31.png"/><Relationship Id="rId14" Type="http://schemas.openxmlformats.org/officeDocument/2006/relationships/image" Target="../media/image36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13" Type="http://schemas.openxmlformats.org/officeDocument/2006/relationships/image" Target="../media/image105.png"/><Relationship Id="rId18" Type="http://schemas.openxmlformats.org/officeDocument/2006/relationships/image" Target="../media/image110.png"/><Relationship Id="rId3" Type="http://schemas.openxmlformats.org/officeDocument/2006/relationships/tags" Target="../tags/tag19.xml"/><Relationship Id="rId7" Type="http://schemas.openxmlformats.org/officeDocument/2006/relationships/image" Target="../media/image99.emf"/><Relationship Id="rId12" Type="http://schemas.openxmlformats.org/officeDocument/2006/relationships/image" Target="../media/image104.png"/><Relationship Id="rId17" Type="http://schemas.openxmlformats.org/officeDocument/2006/relationships/image" Target="../media/image109.png"/><Relationship Id="rId2" Type="http://schemas.openxmlformats.org/officeDocument/2006/relationships/tags" Target="../tags/tag18.xml"/><Relationship Id="rId16" Type="http://schemas.openxmlformats.org/officeDocument/2006/relationships/image" Target="../media/image108.png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103.png"/><Relationship Id="rId5" Type="http://schemas.openxmlformats.org/officeDocument/2006/relationships/notesSlide" Target="../notesSlides/notesSlide11.xml"/><Relationship Id="rId15" Type="http://schemas.openxmlformats.org/officeDocument/2006/relationships/image" Target="../media/image107.png"/><Relationship Id="rId10" Type="http://schemas.openxmlformats.org/officeDocument/2006/relationships/image" Target="../media/image102.png"/><Relationship Id="rId4" Type="http://schemas.openxmlformats.org/officeDocument/2006/relationships/slideLayout" Target="../slideLayouts/slideLayout69.xml"/><Relationship Id="rId9" Type="http://schemas.openxmlformats.org/officeDocument/2006/relationships/image" Target="../media/image101.png"/><Relationship Id="rId14" Type="http://schemas.openxmlformats.org/officeDocument/2006/relationships/image" Target="../media/image10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99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69.xml"/></Relationships>
</file>

<file path=ppt/slides/_rels/slide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0.png"/><Relationship Id="rId1" Type="http://schemas.openxmlformats.org/officeDocument/2006/relationships/slideLayout" Target="../slideLayouts/slideLayout2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jpeg"/><Relationship Id="rId13" Type="http://schemas.openxmlformats.org/officeDocument/2006/relationships/image" Target="../media/image117.png"/><Relationship Id="rId3" Type="http://schemas.openxmlformats.org/officeDocument/2006/relationships/tags" Target="../tags/tag23.xml"/><Relationship Id="rId7" Type="http://schemas.openxmlformats.org/officeDocument/2006/relationships/image" Target="../media/image111.png"/><Relationship Id="rId12" Type="http://schemas.openxmlformats.org/officeDocument/2006/relationships/image" Target="../media/image116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9.emf"/><Relationship Id="rId11" Type="http://schemas.openxmlformats.org/officeDocument/2006/relationships/image" Target="../media/image115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114.png"/><Relationship Id="rId4" Type="http://schemas.openxmlformats.org/officeDocument/2006/relationships/slideLayout" Target="../slideLayouts/slideLayout69.xml"/><Relationship Id="rId9" Type="http://schemas.openxmlformats.org/officeDocument/2006/relationships/image" Target="../media/image113.png"/><Relationship Id="rId14" Type="http://schemas.openxmlformats.org/officeDocument/2006/relationships/image" Target="../media/image11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9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6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2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2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2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jpe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29.jpeg"/><Relationship Id="rId5" Type="http://schemas.openxmlformats.org/officeDocument/2006/relationships/image" Target="../media/image128.jpeg"/><Relationship Id="rId4" Type="http://schemas.openxmlformats.org/officeDocument/2006/relationships/image" Target="../media/image127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image" Target="../media/image42.png"/><Relationship Id="rId7" Type="http://schemas.openxmlformats.org/officeDocument/2006/relationships/image" Target="../media/image4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png"/><Relationship Id="rId5" Type="http://schemas.openxmlformats.org/officeDocument/2006/relationships/image" Target="../media/image44.jpeg"/><Relationship Id="rId4" Type="http://schemas.openxmlformats.org/officeDocument/2006/relationships/image" Target="../media/image43.png"/><Relationship Id="rId9" Type="http://schemas.openxmlformats.org/officeDocument/2006/relationships/image" Target="../media/image47.jpe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microsoft.com/office/2007/relationships/hdphoto" Target="../media/hdphoto3.wdp"/><Relationship Id="rId18" Type="http://schemas.openxmlformats.org/officeDocument/2006/relationships/image" Target="../media/image61.png"/><Relationship Id="rId3" Type="http://schemas.openxmlformats.org/officeDocument/2006/relationships/image" Target="../media/image49.png"/><Relationship Id="rId21" Type="http://schemas.openxmlformats.org/officeDocument/2006/relationships/image" Target="../media/image64.svg"/><Relationship Id="rId7" Type="http://schemas.openxmlformats.org/officeDocument/2006/relationships/image" Target="../media/image52.png"/><Relationship Id="rId12" Type="http://schemas.openxmlformats.org/officeDocument/2006/relationships/image" Target="../media/image56.png"/><Relationship Id="rId17" Type="http://schemas.openxmlformats.org/officeDocument/2006/relationships/image" Target="../media/image60.svg"/><Relationship Id="rId2" Type="http://schemas.openxmlformats.org/officeDocument/2006/relationships/image" Target="../media/image48.png"/><Relationship Id="rId16" Type="http://schemas.openxmlformats.org/officeDocument/2006/relationships/image" Target="../media/image59.png"/><Relationship Id="rId20" Type="http://schemas.openxmlformats.org/officeDocument/2006/relationships/image" Target="../media/image63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11" Type="http://schemas.openxmlformats.org/officeDocument/2006/relationships/image" Target="../media/image55.png"/><Relationship Id="rId5" Type="http://schemas.openxmlformats.org/officeDocument/2006/relationships/image" Target="../media/image51.png"/><Relationship Id="rId15" Type="http://schemas.openxmlformats.org/officeDocument/2006/relationships/image" Target="../media/image58.svg"/><Relationship Id="rId10" Type="http://schemas.openxmlformats.org/officeDocument/2006/relationships/image" Target="../media/image54.png"/><Relationship Id="rId19" Type="http://schemas.openxmlformats.org/officeDocument/2006/relationships/image" Target="../media/image62.svg"/><Relationship Id="rId4" Type="http://schemas.openxmlformats.org/officeDocument/2006/relationships/image" Target="../media/image50.png"/><Relationship Id="rId9" Type="http://schemas.openxmlformats.org/officeDocument/2006/relationships/image" Target="../media/image53.png"/><Relationship Id="rId14" Type="http://schemas.openxmlformats.org/officeDocument/2006/relationships/image" Target="../media/image57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5.png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sv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0.svg"/><Relationship Id="rId5" Type="http://schemas.openxmlformats.org/officeDocument/2006/relationships/image" Target="../media/image69.png"/><Relationship Id="rId10" Type="http://schemas.openxmlformats.org/officeDocument/2006/relationships/image" Target="../media/image74.svg"/><Relationship Id="rId4" Type="http://schemas.openxmlformats.org/officeDocument/2006/relationships/image" Target="../media/image68.svg"/><Relationship Id="rId9" Type="http://schemas.openxmlformats.org/officeDocument/2006/relationships/image" Target="../media/image7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7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23" name="Section Zoom 22">
                <a:extLst>
                  <a:ext uri="{FF2B5EF4-FFF2-40B4-BE49-F238E27FC236}">
                    <a16:creationId xmlns:a16="http://schemas.microsoft.com/office/drawing/2014/main" id="{4F78F3BD-785C-41E5-AB76-B9D9110C3419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738821751"/>
                  </p:ext>
                </p:extLst>
              </p:nvPr>
            </p:nvGraphicFramePr>
            <p:xfrm>
              <a:off x="4059319" y="4581144"/>
              <a:ext cx="4064000" cy="2286000"/>
            </p:xfrm>
            <a:graphic>
              <a:graphicData uri="http://schemas.microsoft.com/office/powerpoint/2016/sectionzoom">
                <psez:sectionZm>
                  <psez:sectionZmObj sectionId="{6CCCBBD3-7E09-4C69-AE1F-D36850E77DB9}">
                    <psez:zmPr id="{FE8BDDD6-C05F-4221-ABCE-530863495E71}" returnToParent="0" transitionDur="1500">
                      <p166:blipFill xmlns:p166="http://schemas.microsoft.com/office/powerpoint/2016/6/main">
                        <a:blip r:embed="rId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064000" cy="228600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23" name="Section Zoom 22">
                <a:hlinkClick r:id="rId3" action="ppaction://hlinksldjump"/>
                <a:extLst>
                  <a:ext uri="{FF2B5EF4-FFF2-40B4-BE49-F238E27FC236}">
                    <a16:creationId xmlns:a16="http://schemas.microsoft.com/office/drawing/2014/main" id="{4F78F3BD-785C-41E5-AB76-B9D9110C341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59319" y="4581144"/>
                <a:ext cx="4064000" cy="2286000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19" name="Section Zoom 18">
                <a:extLst>
                  <a:ext uri="{FF2B5EF4-FFF2-40B4-BE49-F238E27FC236}">
                    <a16:creationId xmlns:a16="http://schemas.microsoft.com/office/drawing/2014/main" id="{9EE6AC6B-0A56-47BB-AAB3-4A1439FF5548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570416021"/>
                  </p:ext>
                </p:extLst>
              </p:nvPr>
            </p:nvGraphicFramePr>
            <p:xfrm>
              <a:off x="-303" y="4581144"/>
              <a:ext cx="4063998" cy="2286000"/>
            </p:xfrm>
            <a:graphic>
              <a:graphicData uri="http://schemas.microsoft.com/office/powerpoint/2016/sectionzoom">
                <psez:sectionZm>
                  <psez:sectionZmObj sectionId="{4030F54D-0A57-4CEA-9F5E-4CBC04742239}">
                    <psez:zmPr id="{8B7B1DC7-7445-461C-B909-7E0DC7C2C5FA}" returnToParent="0" transitionDur="150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063998" cy="228600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19" name="Section Zoom 18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9EE6AC6B-0A56-47BB-AAB3-4A1439FF554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-303" y="4581144"/>
                <a:ext cx="4063998" cy="2286000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mc:AlternateContent xmlns:mc="http://schemas.openxmlformats.org/markup-compatibility/2006" xmlns:psez="http://schemas.microsoft.com/office/powerpoint/2016/sectionzoom">
        <mc:Choice Requires="psez">
          <p:graphicFrame>
            <p:nvGraphicFramePr>
              <p:cNvPr id="32" name="Section Zoom 31">
                <a:extLst>
                  <a:ext uri="{FF2B5EF4-FFF2-40B4-BE49-F238E27FC236}">
                    <a16:creationId xmlns:a16="http://schemas.microsoft.com/office/drawing/2014/main" id="{BCDDA763-1262-4ACA-9DE6-45C9098D135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938405460"/>
                  </p:ext>
                </p:extLst>
              </p:nvPr>
            </p:nvGraphicFramePr>
            <p:xfrm>
              <a:off x="8125206" y="4581144"/>
              <a:ext cx="4064000" cy="2286000"/>
            </p:xfrm>
            <a:graphic>
              <a:graphicData uri="http://schemas.microsoft.com/office/powerpoint/2016/sectionzoom">
                <psez:sectionZm>
                  <psez:sectionZmObj sectionId="{21ACC5B8-3A59-44E4-906C-2CC08CE0349D}">
                    <psez:zmPr id="{5842D69C-772E-4968-AE88-87B276DBCB4F}" returnToParent="0" transitionDur="150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064000" cy="2286000"/>
                        </a:xfrm>
                        <a:prstGeom prst="rect">
                          <a:avLst/>
                        </a:prstGeom>
                        <a:ln w="3175">
                          <a:noFill/>
                        </a:ln>
                      </p166:spPr>
                    </psez:zmPr>
                  </psez:sectionZmObj>
                </psez:sectionZm>
              </a:graphicData>
            </a:graphic>
          </p:graphicFrame>
        </mc:Choice>
        <mc:Fallback xmlns="">
          <p:pic>
            <p:nvPicPr>
              <p:cNvPr id="32" name="Section Zoom 31">
                <a:hlinkClick r:id="rId9" action="ppaction://hlinksldjump"/>
                <a:extLst>
                  <a:ext uri="{FF2B5EF4-FFF2-40B4-BE49-F238E27FC236}">
                    <a16:creationId xmlns:a16="http://schemas.microsoft.com/office/drawing/2014/main" id="{BCDDA763-1262-4ACA-9DE6-45C9098D135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8125206" y="4581144"/>
                <a:ext cx="4064000" cy="2286000"/>
              </a:xfrm>
              <a:prstGeom prst="rect">
                <a:avLst/>
              </a:prstGeom>
              <a:ln w="3175">
                <a:noFill/>
              </a:ln>
            </p:spPr>
          </p:pic>
        </mc:Fallback>
      </mc:AlternateContent>
      <p:pic>
        <p:nvPicPr>
          <p:cNvPr id="9" name="Picture 8">
            <a:extLst>
              <a:ext uri="{FF2B5EF4-FFF2-40B4-BE49-F238E27FC236}">
                <a16:creationId xmlns:a16="http://schemas.microsoft.com/office/drawing/2014/main" id="{DF8C33FF-3B6A-4B46-9360-CA392BC9839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8559" y="1812976"/>
            <a:ext cx="3054881" cy="1749374"/>
          </a:xfrm>
          <a:prstGeom prst="rect">
            <a:avLst/>
          </a:prstGeom>
        </p:spPr>
      </p:pic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52BECB87-9729-40EA-B747-159B95AB6D10}"/>
              </a:ext>
            </a:extLst>
          </p:cNvPr>
          <p:cNvSpPr/>
          <p:nvPr/>
        </p:nvSpPr>
        <p:spPr>
          <a:xfrm>
            <a:off x="1" y="286211"/>
            <a:ext cx="12192000" cy="3885051"/>
          </a:xfrm>
          <a:custGeom>
            <a:avLst/>
            <a:gdLst>
              <a:gd name="connsiteX0" fmla="*/ 6144033 w 12215767"/>
              <a:gd name="connsiteY0" fmla="*/ 0 h 3885051"/>
              <a:gd name="connsiteX1" fmla="*/ 12148811 w 12215767"/>
              <a:gd name="connsiteY1" fmla="*/ 3192715 h 3885051"/>
              <a:gd name="connsiteX2" fmla="*/ 12215767 w 12215767"/>
              <a:gd name="connsiteY2" fmla="*/ 3297157 h 3885051"/>
              <a:gd name="connsiteX3" fmla="*/ 12215767 w 12215767"/>
              <a:gd name="connsiteY3" fmla="*/ 3759311 h 3885051"/>
              <a:gd name="connsiteX4" fmla="*/ 12130848 w 12215767"/>
              <a:gd name="connsiteY4" fmla="*/ 3611623 h 3885051"/>
              <a:gd name="connsiteX5" fmla="*/ 6144033 w 12215767"/>
              <a:gd name="connsiteY5" fmla="*/ 241248 h 3885051"/>
              <a:gd name="connsiteX6" fmla="*/ 157217 w 12215767"/>
              <a:gd name="connsiteY6" fmla="*/ 3611623 h 3885051"/>
              <a:gd name="connsiteX7" fmla="*/ 0 w 12215767"/>
              <a:gd name="connsiteY7" fmla="*/ 3885051 h 3885051"/>
              <a:gd name="connsiteX8" fmla="*/ 0 w 12215767"/>
              <a:gd name="connsiteY8" fmla="*/ 3409931 h 3885051"/>
              <a:gd name="connsiteX9" fmla="*/ 139254 w 12215767"/>
              <a:gd name="connsiteY9" fmla="*/ 3192715 h 3885051"/>
              <a:gd name="connsiteX10" fmla="*/ 6144033 w 12215767"/>
              <a:gd name="connsiteY10" fmla="*/ 0 h 3885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215767" h="3885051">
                <a:moveTo>
                  <a:pt x="6144033" y="0"/>
                </a:moveTo>
                <a:cubicBezTo>
                  <a:pt x="8643644" y="0"/>
                  <a:pt x="10847458" y="1266460"/>
                  <a:pt x="12148811" y="3192715"/>
                </a:cubicBezTo>
                <a:lnTo>
                  <a:pt x="12215767" y="3297157"/>
                </a:lnTo>
                <a:lnTo>
                  <a:pt x="12215767" y="3759311"/>
                </a:lnTo>
                <a:lnTo>
                  <a:pt x="12130848" y="3611623"/>
                </a:lnTo>
                <a:cubicBezTo>
                  <a:pt x="10903091" y="1591004"/>
                  <a:pt x="8681188" y="241248"/>
                  <a:pt x="6144033" y="241248"/>
                </a:cubicBezTo>
                <a:cubicBezTo>
                  <a:pt x="3606878" y="241248"/>
                  <a:pt x="1384975" y="1591004"/>
                  <a:pt x="157217" y="3611623"/>
                </a:cubicBezTo>
                <a:lnTo>
                  <a:pt x="0" y="3885051"/>
                </a:lnTo>
                <a:lnTo>
                  <a:pt x="0" y="3409931"/>
                </a:lnTo>
                <a:lnTo>
                  <a:pt x="139254" y="3192715"/>
                </a:lnTo>
                <a:cubicBezTo>
                  <a:pt x="1440607" y="1266460"/>
                  <a:pt x="3644421" y="0"/>
                  <a:pt x="6144033" y="0"/>
                </a:cubicBezTo>
                <a:close/>
              </a:path>
            </a:pathLst>
          </a:custGeom>
          <a:gradFill flip="none" rotWithShape="1">
            <a:gsLst>
              <a:gs pos="0">
                <a:srgbClr val="00AAF4"/>
              </a:gs>
              <a:gs pos="100000">
                <a:srgbClr val="002F87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106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DC1B3AC-9576-4BAD-B9B3-290102E240B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ltGray">
          <a:xfrm>
            <a:off x="367295" y="4886782"/>
            <a:ext cx="1103366" cy="15511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600" b="0" i="0" u="none" strike="noStrike" cap="none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914354"/>
            <a:r>
              <a:rPr lang="en-US"/>
              <a:t>CCI Proprietary and Confidential</a:t>
            </a:r>
            <a:endParaRPr lang="en-US" kern="1200" dirty="0">
              <a:solidFill>
                <a:srgbClr val="FFFFFF">
                  <a:lumMod val="65000"/>
                </a:srgbClr>
              </a:solidFill>
              <a:ea typeface="+mn-ea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12224F6-BE23-408A-8C30-AA6985FA2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1"/>
          </a:xfrm>
        </p:spPr>
        <p:txBody>
          <a:bodyPr/>
          <a:lstStyle/>
          <a:p>
            <a:r>
              <a:rPr lang="en-US" dirty="0"/>
              <a:t>Connect2Compete Overview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8B8CD9EB-26E4-4113-9D55-1114C8D30511}"/>
              </a:ext>
            </a:extLst>
          </p:cNvPr>
          <p:cNvSpPr txBox="1">
            <a:spLocks/>
          </p:cNvSpPr>
          <p:nvPr/>
        </p:nvSpPr>
        <p:spPr>
          <a:xfrm>
            <a:off x="493777" y="1306273"/>
            <a:ext cx="7002177" cy="4870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377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  <a:defRPr lang="en-US" sz="20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 Light" panose="020F0302020204030204" pitchFamily="34" charset="0"/>
                <a:sym typeface="Proxima Nova" charset="0"/>
              </a:defRPr>
            </a:lvl1pPr>
            <a:lvl2pPr marL="228594" indent="-228594" algn="l" defTabSz="914377" rtl="0" eaLnBrk="0" fontAlgn="base" hangingPunct="0">
              <a:lnSpc>
                <a:spcPct val="90000"/>
              </a:lnSpc>
              <a:spcBef>
                <a:spcPts val="667"/>
              </a:spcBef>
              <a:spcAft>
                <a:spcPts val="267"/>
              </a:spcAft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Proxima Nova" charset="0"/>
              </a:defRPr>
            </a:lvl2pPr>
            <a:lvl3pPr marL="455613" indent="-225425" algn="l" defTabSz="914377" rtl="0" eaLnBrk="0" fontAlgn="base" hangingPunct="0">
              <a:lnSpc>
                <a:spcPct val="85000"/>
              </a:lnSpc>
              <a:spcBef>
                <a:spcPts val="400"/>
              </a:spcBef>
              <a:spcAft>
                <a:spcPts val="267"/>
              </a:spcAft>
              <a:buClr>
                <a:schemeClr val="tx1">
                  <a:lumMod val="65000"/>
                  <a:lumOff val="35000"/>
                </a:schemeClr>
              </a:buClr>
              <a:buSzPct val="70000"/>
              <a:buFont typeface="Arial" panose="020B0604020202020204" pitchFamily="34" charset="0"/>
              <a:buChar char="̵"/>
              <a:defRPr sz="14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Proxima Nova" charset="0"/>
              </a:defRPr>
            </a:lvl3pPr>
            <a:lvl4pPr marL="0" indent="0" algn="l" defTabSz="914377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80000"/>
              <a:buFont typeface="Segoe UI" panose="020B0502040204020203" pitchFamily="34" charset="0"/>
              <a:buChar char="​"/>
              <a:defRPr sz="2400" b="1" i="0" kern="120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Proxima Nova" charset="0"/>
              </a:defRPr>
            </a:lvl4pPr>
            <a:lvl5pPr marL="0" indent="0" algn="l" defTabSz="914377" rtl="0" eaLnBrk="0" fontAlgn="base" hangingPunct="0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Segoe UI" panose="020B0502040204020203" pitchFamily="34" charset="0"/>
              <a:buChar char="​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Proxima Nova" charset="0"/>
              </a:defRPr>
            </a:lvl5pPr>
            <a:lvl6pPr marL="0" indent="0" algn="l" defTabSz="457189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2000" b="0" kern="1200" cap="none" spc="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" panose="020F0502020204030204" pitchFamily="34" charset="0"/>
              </a:defRPr>
            </a:lvl6pPr>
            <a:lvl7pPr marL="0" indent="0" algn="l" defTabSz="457189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2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7pPr>
            <a:lvl8pPr marL="0" indent="0" algn="l" defTabSz="457189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2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8pPr>
            <a:lvl9pPr marL="0" indent="0" algn="l" defTabSz="457189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2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9pPr>
          </a:lstStyle>
          <a:p>
            <a:pPr lvl="3" defTabSz="914354">
              <a:buClr>
                <a:srgbClr val="000000">
                  <a:lumMod val="65000"/>
                  <a:lumOff val="35000"/>
                </a:srgbClr>
              </a:buClr>
            </a:pPr>
            <a:r>
              <a:rPr lang="en-US" dirty="0">
                <a:solidFill>
                  <a:srgbClr val="009AE0"/>
                </a:solidFill>
              </a:rPr>
              <a:t>Program Benefits:</a:t>
            </a:r>
          </a:p>
          <a:p>
            <a:pPr defTabSz="914354"/>
            <a:r>
              <a: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$9.95 a month </a:t>
            </a:r>
          </a:p>
          <a:p>
            <a:pPr defTabSz="914354"/>
            <a:r>
              <a: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No deposits, no contracts, no social security number required</a:t>
            </a:r>
          </a:p>
          <a:p>
            <a:pPr defTabSz="914354"/>
            <a:r>
              <a: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Free Installation, free </a:t>
            </a:r>
            <a:r>
              <a:rPr lang="en-US" dirty="0" err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wifi</a:t>
            </a:r>
            <a:r>
              <a: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 modem rental</a:t>
            </a:r>
          </a:p>
          <a:p>
            <a:pPr lvl="3" defTabSz="914354">
              <a:buClr>
                <a:srgbClr val="000000">
                  <a:lumMod val="65000"/>
                  <a:lumOff val="35000"/>
                </a:srgbClr>
              </a:buClr>
            </a:pPr>
            <a:endParaRPr lang="en-US" dirty="0">
              <a:solidFill>
                <a:srgbClr val="009AE0"/>
              </a:solidFill>
            </a:endParaRPr>
          </a:p>
          <a:p>
            <a:pPr lvl="3" defTabSz="914354">
              <a:buClr>
                <a:srgbClr val="000000">
                  <a:lumMod val="65000"/>
                  <a:lumOff val="35000"/>
                </a:srgbClr>
              </a:buClr>
            </a:pPr>
            <a:r>
              <a:rPr lang="en-US" dirty="0">
                <a:solidFill>
                  <a:srgbClr val="009AE0"/>
                </a:solidFill>
              </a:rPr>
              <a:t>Eligibility:</a:t>
            </a:r>
          </a:p>
          <a:p>
            <a:pPr defTabSz="914354"/>
            <a:r>
              <a: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Have a K-12 student in household</a:t>
            </a:r>
          </a:p>
          <a:p>
            <a:pPr defTabSz="914354"/>
            <a:r>
              <a: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Are a new Cox Internet customer</a:t>
            </a:r>
          </a:p>
          <a:p>
            <a:pPr defTabSz="914354"/>
            <a:r>
              <a: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Household participates in government assistance programs:</a:t>
            </a:r>
          </a:p>
          <a:p>
            <a:pPr marL="228589" lvl="1" indent="-228589" defTabSz="914354"/>
            <a:r>
              <a:rPr lang="en-US" dirty="0">
                <a:solidFill>
                  <a:srgbClr val="000000">
                    <a:lumMod val="65000"/>
                    <a:lumOff val="35000"/>
                  </a:srgbClr>
                </a:solidFill>
              </a:rPr>
              <a:t>National School Lunch Program, Head Start, SNAP, TANF, WIC, LIHEAP, or live in public housing</a:t>
            </a:r>
          </a:p>
        </p:txBody>
      </p:sp>
      <p:pic>
        <p:nvPicPr>
          <p:cNvPr id="7" name="Picture Placeholder 6" descr="A picture containing indoor, table, sitting, sign&#10;&#10;Description automatically generated">
            <a:extLst>
              <a:ext uri="{FF2B5EF4-FFF2-40B4-BE49-F238E27FC236}">
                <a16:creationId xmlns:a16="http://schemas.microsoft.com/office/drawing/2014/main" id="{93A5CC82-BF92-4464-BDAF-42FF2332C49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/>
          <a:srcRect l="27202" t="12346" r="6144" b="-12346"/>
          <a:stretch/>
        </p:blipFill>
        <p:spPr>
          <a:xfrm>
            <a:off x="7973517" y="1375262"/>
            <a:ext cx="6251400" cy="6254943"/>
          </a:xfrm>
          <a:pattFill prst="pct5">
            <a:fgClr>
              <a:schemeClr val="accent6">
                <a:lumMod val="20000"/>
                <a:lumOff val="80000"/>
              </a:schemeClr>
            </a:fgClr>
            <a:bgClr>
              <a:schemeClr val="bg1"/>
            </a:bgClr>
          </a:pattFill>
        </p:spPr>
      </p:pic>
    </p:spTree>
    <p:extLst>
      <p:ext uri="{BB962C8B-B14F-4D97-AF65-F5344CB8AC3E}">
        <p14:creationId xmlns:p14="http://schemas.microsoft.com/office/powerpoint/2010/main" val="2250258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DC1B3AC-9576-4BAD-B9B3-290102E240B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ltGray">
          <a:xfrm>
            <a:off x="367295" y="4886782"/>
            <a:ext cx="1103366" cy="15511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600" b="0" i="0" u="none" strike="noStrike" cap="none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914354"/>
            <a:r>
              <a:rPr lang="en-US"/>
              <a:t>CCI Proprietary and Confidential</a:t>
            </a:r>
            <a:endParaRPr lang="en-US" kern="1200" dirty="0">
              <a:solidFill>
                <a:srgbClr val="FFFFFF">
                  <a:lumMod val="65000"/>
                </a:srgbClr>
              </a:solidFill>
              <a:ea typeface="+mn-ea"/>
            </a:endParaRPr>
          </a:p>
        </p:txBody>
      </p:sp>
      <p:pic>
        <p:nvPicPr>
          <p:cNvPr id="7" name="Picture Placeholder 6" descr="A picture containing table, computer&#10;&#10;Description automatically generated">
            <a:extLst>
              <a:ext uri="{FF2B5EF4-FFF2-40B4-BE49-F238E27FC236}">
                <a16:creationId xmlns:a16="http://schemas.microsoft.com/office/drawing/2014/main" id="{A4DAE232-050C-4140-B04D-1B90188A78FA}"/>
              </a:ext>
            </a:extLst>
          </p:cNvPr>
          <p:cNvPicPr>
            <a:picLocks noGrp="1"/>
          </p:cNvPicPr>
          <p:nvPr>
            <p:ph type="pic" sz="quarter" idx="12"/>
          </p:nvPr>
        </p:nvPicPr>
        <p:blipFill rotWithShape="1">
          <a:blip r:embed="rId3"/>
          <a:srcRect l="1755" t="7381" r="-1755" b="43997"/>
          <a:stretch/>
        </p:blipFill>
        <p:spPr>
          <a:xfrm>
            <a:off x="7973517" y="1375262"/>
            <a:ext cx="6251400" cy="6254943"/>
          </a:xfrm>
        </p:spPr>
      </p:pic>
      <p:sp>
        <p:nvSpPr>
          <p:cNvPr id="10" name="Title 8">
            <a:extLst>
              <a:ext uri="{FF2B5EF4-FFF2-40B4-BE49-F238E27FC236}">
                <a16:creationId xmlns:a16="http://schemas.microsoft.com/office/drawing/2014/main" id="{2971154A-6C1D-46F4-8581-01BECF2F3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7" y="167677"/>
            <a:ext cx="6580124" cy="897971"/>
          </a:xfrm>
        </p:spPr>
        <p:txBody>
          <a:bodyPr/>
          <a:lstStyle/>
          <a:p>
            <a:r>
              <a:rPr lang="en-US" dirty="0"/>
              <a:t>COVID-19 Respons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FE9CF77-EC2A-4275-8DF9-ED596C853AC8}"/>
              </a:ext>
            </a:extLst>
          </p:cNvPr>
          <p:cNvSpPr txBox="1">
            <a:spLocks/>
          </p:cNvSpPr>
          <p:nvPr/>
        </p:nvSpPr>
        <p:spPr>
          <a:xfrm>
            <a:off x="493777" y="1306273"/>
            <a:ext cx="7002177" cy="48701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377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  <a:defRPr lang="en-US" sz="20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Calibri Light" panose="020F0302020204030204" pitchFamily="34" charset="0"/>
                <a:sym typeface="Proxima Nova" charset="0"/>
              </a:defRPr>
            </a:lvl1pPr>
            <a:lvl2pPr marL="228594" indent="-228594" algn="l" defTabSz="914377" rtl="0" eaLnBrk="0" fontAlgn="base" hangingPunct="0">
              <a:lnSpc>
                <a:spcPct val="90000"/>
              </a:lnSpc>
              <a:spcBef>
                <a:spcPts val="667"/>
              </a:spcBef>
              <a:spcAft>
                <a:spcPts val="267"/>
              </a:spcAft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Proxima Nova" charset="0"/>
              </a:defRPr>
            </a:lvl2pPr>
            <a:lvl3pPr marL="455613" indent="-225425" algn="l" defTabSz="914377" rtl="0" eaLnBrk="0" fontAlgn="base" hangingPunct="0">
              <a:lnSpc>
                <a:spcPct val="85000"/>
              </a:lnSpc>
              <a:spcBef>
                <a:spcPts val="400"/>
              </a:spcBef>
              <a:spcAft>
                <a:spcPts val="267"/>
              </a:spcAft>
              <a:buClr>
                <a:schemeClr val="tx1">
                  <a:lumMod val="65000"/>
                  <a:lumOff val="35000"/>
                </a:schemeClr>
              </a:buClr>
              <a:buSzPct val="70000"/>
              <a:buFont typeface="Arial" panose="020B0604020202020204" pitchFamily="34" charset="0"/>
              <a:buChar char="̵"/>
              <a:defRPr sz="14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Proxima Nova" charset="0"/>
              </a:defRPr>
            </a:lvl3pPr>
            <a:lvl4pPr marL="0" indent="0" algn="l" defTabSz="914377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80000"/>
              <a:buFont typeface="Segoe UI" panose="020B0502040204020203" pitchFamily="34" charset="0"/>
              <a:buChar char="​"/>
              <a:defRPr sz="2400" b="1" i="0" kern="120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Proxima Nova" charset="0"/>
              </a:defRPr>
            </a:lvl4pPr>
            <a:lvl5pPr marL="0" indent="0" algn="l" defTabSz="914377" rtl="0" eaLnBrk="0" fontAlgn="base" hangingPunct="0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Segoe UI" panose="020B0502040204020203" pitchFamily="34" charset="0"/>
              <a:buChar char="​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Proxima Nova" charset="0"/>
              </a:defRPr>
            </a:lvl5pPr>
            <a:lvl6pPr marL="0" indent="0" algn="l" defTabSz="457189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2000" b="0" kern="1200" cap="none" spc="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" panose="020F0502020204030204" pitchFamily="34" charset="0"/>
              </a:defRPr>
            </a:lvl6pPr>
            <a:lvl7pPr marL="0" indent="0" algn="l" defTabSz="457189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2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7pPr>
            <a:lvl8pPr marL="0" indent="0" algn="l" defTabSz="457189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2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8pPr>
            <a:lvl9pPr marL="0" indent="0" algn="l" defTabSz="457189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2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9pPr>
          </a:lstStyle>
          <a:p>
            <a:pPr defTabSz="914354">
              <a:lnSpc>
                <a:spcPct val="100000"/>
              </a:lnSpc>
            </a:pPr>
            <a:endParaRPr lang="en-US" b="1" dirty="0">
              <a:solidFill>
                <a:srgbClr val="000000">
                  <a:lumMod val="65000"/>
                  <a:lumOff val="35000"/>
                </a:srgbClr>
              </a:solidFill>
              <a:latin typeface="Calibri Light" panose="020F0302020204030204"/>
            </a:endParaRPr>
          </a:p>
          <a:p>
            <a:pPr defTabSz="914354">
              <a:lnSpc>
                <a:spcPct val="100000"/>
              </a:lnSpc>
            </a:pPr>
            <a:r>
              <a:rPr lang="en-US" b="1" dirty="0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Cox outdoor </a:t>
            </a:r>
            <a:r>
              <a:rPr lang="en-US" b="1" dirty="0" err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Wifi</a:t>
            </a:r>
            <a:r>
              <a:rPr lang="en-US" b="1" dirty="0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 Hotspots open</a:t>
            </a:r>
            <a:r>
              <a: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 to keep public connected</a:t>
            </a:r>
            <a:endParaRPr lang="en-US" b="1" dirty="0">
              <a:solidFill>
                <a:srgbClr val="000000">
                  <a:lumMod val="65000"/>
                  <a:lumOff val="35000"/>
                </a:srgbClr>
              </a:solidFill>
              <a:latin typeface="Calibri Light" panose="020F0302020204030204"/>
            </a:endParaRPr>
          </a:p>
          <a:p>
            <a:pPr defTabSz="914354">
              <a:lnSpc>
                <a:spcPct val="100000"/>
              </a:lnSpc>
            </a:pPr>
            <a:endParaRPr lang="en-US" b="1" dirty="0">
              <a:solidFill>
                <a:srgbClr val="000000">
                  <a:lumMod val="65000"/>
                  <a:lumOff val="35000"/>
                </a:srgbClr>
              </a:solidFill>
              <a:latin typeface="Calibri Light" panose="020F0302020204030204"/>
            </a:endParaRPr>
          </a:p>
          <a:p>
            <a:pPr defTabSz="914354">
              <a:lnSpc>
                <a:spcPct val="100000"/>
              </a:lnSpc>
            </a:pPr>
            <a:r>
              <a:rPr lang="en-US" b="1" dirty="0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Suspending late fees </a:t>
            </a:r>
            <a:r>
              <a: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for customers who express inability to pay </a:t>
            </a:r>
            <a:endParaRPr lang="en-US" b="1" dirty="0">
              <a:solidFill>
                <a:srgbClr val="000000">
                  <a:lumMod val="65000"/>
                  <a:lumOff val="35000"/>
                </a:srgbClr>
              </a:solidFill>
              <a:latin typeface="Calibri Light" panose="020F0302020204030204"/>
            </a:endParaRPr>
          </a:p>
          <a:p>
            <a:pPr defTabSz="914354">
              <a:lnSpc>
                <a:spcPct val="100000"/>
              </a:lnSpc>
              <a:buNone/>
            </a:pPr>
            <a:endParaRPr lang="en-US" b="1" dirty="0">
              <a:solidFill>
                <a:srgbClr val="000000">
                  <a:lumMod val="65000"/>
                  <a:lumOff val="35000"/>
                </a:srgbClr>
              </a:solidFill>
              <a:latin typeface="Calibri Light" panose="020F0302020204030204"/>
            </a:endParaRPr>
          </a:p>
          <a:p>
            <a:pPr defTabSz="914354">
              <a:lnSpc>
                <a:spcPct val="100000"/>
              </a:lnSpc>
              <a:buNone/>
            </a:pPr>
            <a:r>
              <a:rPr lang="en-US" b="1" dirty="0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Cox Cares Act Solutions for Education </a:t>
            </a:r>
            <a:r>
              <a: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to help schools cover              the cost of student internet access</a:t>
            </a:r>
          </a:p>
        </p:txBody>
      </p:sp>
    </p:spTree>
    <p:extLst>
      <p:ext uri="{BB962C8B-B14F-4D97-AF65-F5344CB8AC3E}">
        <p14:creationId xmlns:p14="http://schemas.microsoft.com/office/powerpoint/2010/main" val="3484805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>
            <a:extLst>
              <a:ext uri="{FF2B5EF4-FFF2-40B4-BE49-F238E27FC236}">
                <a16:creationId xmlns:a16="http://schemas.microsoft.com/office/drawing/2014/main" id="{8B5453A2-DAB7-47B0-B9C2-5CF26A92721A}"/>
              </a:ext>
            </a:extLst>
          </p:cNvPr>
          <p:cNvSpPr/>
          <p:nvPr/>
        </p:nvSpPr>
        <p:spPr>
          <a:xfrm>
            <a:off x="2934501" y="5443319"/>
            <a:ext cx="8581411" cy="68106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US" b="1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5948E8A-3959-45DC-A2A5-2CA20A99C365}"/>
              </a:ext>
            </a:extLst>
          </p:cNvPr>
          <p:cNvSpPr/>
          <p:nvPr/>
        </p:nvSpPr>
        <p:spPr>
          <a:xfrm>
            <a:off x="7374417" y="2002761"/>
            <a:ext cx="2125699" cy="334691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US" b="1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503FB27-1107-43E1-9F22-5B176E8B014D}"/>
              </a:ext>
            </a:extLst>
          </p:cNvPr>
          <p:cNvSpPr/>
          <p:nvPr/>
        </p:nvSpPr>
        <p:spPr>
          <a:xfrm>
            <a:off x="5153760" y="2012309"/>
            <a:ext cx="2125699" cy="334691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US" b="1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EC87C0D-CFED-40BA-B954-F2F33E629807}"/>
              </a:ext>
            </a:extLst>
          </p:cNvPr>
          <p:cNvSpPr/>
          <p:nvPr/>
        </p:nvSpPr>
        <p:spPr>
          <a:xfrm>
            <a:off x="2925273" y="2010360"/>
            <a:ext cx="2125699" cy="33488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US" b="1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D3DD10-455D-4A43-8982-FA340D553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ctive Produc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24EC10-67DB-4968-97EF-66E00A9810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934502" y="6208220"/>
            <a:ext cx="3944940" cy="206216"/>
          </a:xfrm>
        </p:spPr>
        <p:txBody>
          <a:bodyPr/>
          <a:lstStyle/>
          <a:p>
            <a:pPr algn="l"/>
            <a:r>
              <a:rPr lang="en-US" sz="1000" b="1">
                <a:solidFill>
                  <a:schemeClr val="tx1">
                    <a:lumMod val="50000"/>
                    <a:lumOff val="50000"/>
                  </a:schemeClr>
                </a:solidFill>
              </a:rPr>
              <a:t>* All Cox Internet Tiers are eligible to receive the CARES subsidy </a:t>
            </a:r>
          </a:p>
        </p:txBody>
      </p:sp>
      <p:pic>
        <p:nvPicPr>
          <p:cNvPr id="4" name="Graphic 3" descr="City">
            <a:extLst>
              <a:ext uri="{FF2B5EF4-FFF2-40B4-BE49-F238E27FC236}">
                <a16:creationId xmlns:a16="http://schemas.microsoft.com/office/drawing/2014/main" id="{89E36AB0-9F91-4789-A2FE-D5872B2BE3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5939" y="3687704"/>
            <a:ext cx="645459" cy="645459"/>
          </a:xfrm>
          <a:prstGeom prst="rect">
            <a:avLst/>
          </a:prstGeom>
        </p:spPr>
      </p:pic>
      <p:pic>
        <p:nvPicPr>
          <p:cNvPr id="6" name="Graphic 5" descr="Home">
            <a:extLst>
              <a:ext uri="{FF2B5EF4-FFF2-40B4-BE49-F238E27FC236}">
                <a16:creationId xmlns:a16="http://schemas.microsoft.com/office/drawing/2014/main" id="{29246D85-897B-4CA1-BFAA-EC1A493BEBE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3776" y="1672080"/>
            <a:ext cx="607621" cy="60762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69C1C1-30B4-4126-908E-9806CEC6D6A5}"/>
              </a:ext>
            </a:extLst>
          </p:cNvPr>
          <p:cNvSpPr txBox="1"/>
          <p:nvPr/>
        </p:nvSpPr>
        <p:spPr>
          <a:xfrm>
            <a:off x="455939" y="3002879"/>
            <a:ext cx="2359752" cy="33855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600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    Cox Interne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F6CCD8A-32DA-4C93-B107-5DB6953A9D9C}"/>
              </a:ext>
            </a:extLst>
          </p:cNvPr>
          <p:cNvSpPr txBox="1"/>
          <p:nvPr/>
        </p:nvSpPr>
        <p:spPr>
          <a:xfrm>
            <a:off x="455937" y="2294342"/>
            <a:ext cx="2366547" cy="33855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600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Connect2Compete®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947C7CA-30D7-45D0-A216-AA741EE4833F}"/>
              </a:ext>
            </a:extLst>
          </p:cNvPr>
          <p:cNvSpPr txBox="1"/>
          <p:nvPr/>
        </p:nvSpPr>
        <p:spPr>
          <a:xfrm>
            <a:off x="458227" y="4310638"/>
            <a:ext cx="2357464" cy="33855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600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MDU Bulk WiFi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C98C590-4DE3-4D43-9074-EED935BC1F4F}"/>
              </a:ext>
            </a:extLst>
          </p:cNvPr>
          <p:cNvSpPr txBox="1"/>
          <p:nvPr/>
        </p:nvSpPr>
        <p:spPr>
          <a:xfrm>
            <a:off x="465020" y="4845082"/>
            <a:ext cx="2357464" cy="338554"/>
          </a:xfrm>
          <a:prstGeom prst="rect">
            <a:avLst/>
          </a:prstGeom>
          <a:ln>
            <a:solidFill>
              <a:srgbClr val="00B0F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600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  CB Managed WiFi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3F5C956-A965-4BCD-B789-149B0B6E54B7}"/>
              </a:ext>
            </a:extLst>
          </p:cNvPr>
          <p:cNvSpPr txBox="1"/>
          <p:nvPr/>
        </p:nvSpPr>
        <p:spPr>
          <a:xfrm>
            <a:off x="2925273" y="1660831"/>
            <a:ext cx="2125699" cy="3693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b="1">
                <a:solidFill>
                  <a:srgbClr val="FFFFFF"/>
                </a:solidFill>
                <a:latin typeface="Calibri Light" panose="020F0302020204030204"/>
              </a:rPr>
              <a:t>Elements</a:t>
            </a:r>
          </a:p>
        </p:txBody>
      </p:sp>
      <p:pic>
        <p:nvPicPr>
          <p:cNvPr id="26" name="Graphic 25" descr="Wi Fi">
            <a:extLst>
              <a:ext uri="{FF2B5EF4-FFF2-40B4-BE49-F238E27FC236}">
                <a16:creationId xmlns:a16="http://schemas.microsoft.com/office/drawing/2014/main" id="{294FAE21-9960-418D-BE11-8EBE977A53C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5939" y="5580520"/>
            <a:ext cx="374976" cy="374976"/>
          </a:xfrm>
          <a:prstGeom prst="rect">
            <a:avLst/>
          </a:prstGeom>
        </p:spPr>
      </p:pic>
      <p:pic>
        <p:nvPicPr>
          <p:cNvPr id="31" name="Graphic 30" descr="Wi Fi">
            <a:extLst>
              <a:ext uri="{FF2B5EF4-FFF2-40B4-BE49-F238E27FC236}">
                <a16:creationId xmlns:a16="http://schemas.microsoft.com/office/drawing/2014/main" id="{F2F261D1-8182-494F-B370-B3CDF33E2E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4339" y="2984667"/>
            <a:ext cx="374976" cy="374976"/>
          </a:xfrm>
          <a:prstGeom prst="rect">
            <a:avLst/>
          </a:prstGeom>
        </p:spPr>
      </p:pic>
      <p:pic>
        <p:nvPicPr>
          <p:cNvPr id="33" name="Graphic 32" descr="Wi Fi">
            <a:extLst>
              <a:ext uri="{FF2B5EF4-FFF2-40B4-BE49-F238E27FC236}">
                <a16:creationId xmlns:a16="http://schemas.microsoft.com/office/drawing/2014/main" id="{04BE83F3-2B38-4B67-9399-E5FFA60B512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9635" y="4857648"/>
            <a:ext cx="374976" cy="374976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452AFC67-87E5-41DF-A285-37497F80A613}"/>
              </a:ext>
            </a:extLst>
          </p:cNvPr>
          <p:cNvSpPr txBox="1"/>
          <p:nvPr/>
        </p:nvSpPr>
        <p:spPr>
          <a:xfrm>
            <a:off x="5153760" y="1663045"/>
            <a:ext cx="2125699" cy="36933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b="1">
                <a:solidFill>
                  <a:srgbClr val="FFFFFF"/>
                </a:solidFill>
                <a:latin typeface="Calibri Light" panose="020F0302020204030204"/>
              </a:rPr>
              <a:t>Speed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F31069C-601F-4813-A295-390542C683AD}"/>
              </a:ext>
            </a:extLst>
          </p:cNvPr>
          <p:cNvSpPr txBox="1"/>
          <p:nvPr/>
        </p:nvSpPr>
        <p:spPr>
          <a:xfrm>
            <a:off x="7372073" y="1655280"/>
            <a:ext cx="2125699" cy="369332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b="1">
                <a:solidFill>
                  <a:srgbClr val="FFFFFF"/>
                </a:solidFill>
                <a:latin typeface="Calibri Light" panose="020F0302020204030204"/>
              </a:rPr>
              <a:t>Pric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41EEA79-E4F4-44FB-9066-E4B5D2741593}"/>
              </a:ext>
            </a:extLst>
          </p:cNvPr>
          <p:cNvSpPr txBox="1"/>
          <p:nvPr/>
        </p:nvSpPr>
        <p:spPr>
          <a:xfrm>
            <a:off x="2925274" y="2216639"/>
            <a:ext cx="21233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NSLP, SNAP, TANF, Public Housing; no C2C last 90 day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1EFA891-1D6E-451C-BDD7-DBA88FF381BA}"/>
              </a:ext>
            </a:extLst>
          </p:cNvPr>
          <p:cNvSpPr txBox="1"/>
          <p:nvPr/>
        </p:nvSpPr>
        <p:spPr>
          <a:xfrm>
            <a:off x="5154931" y="2312869"/>
            <a:ext cx="2125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25 Mbps / 3 Mbp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8AB2BE3-54A5-4D40-96BF-8AD139386403}"/>
              </a:ext>
            </a:extLst>
          </p:cNvPr>
          <p:cNvSpPr txBox="1"/>
          <p:nvPr/>
        </p:nvSpPr>
        <p:spPr>
          <a:xfrm>
            <a:off x="7374418" y="2213180"/>
            <a:ext cx="21233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$9.95 / Month; $0 NRC</a:t>
            </a:r>
          </a:p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No Overag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53E8341-9DC4-4425-A100-3EEF3A526985}"/>
              </a:ext>
            </a:extLst>
          </p:cNvPr>
          <p:cNvSpPr txBox="1"/>
          <p:nvPr/>
        </p:nvSpPr>
        <p:spPr>
          <a:xfrm>
            <a:off x="9605989" y="1655280"/>
            <a:ext cx="1915451" cy="36933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b="1">
                <a:solidFill>
                  <a:srgbClr val="FFFFFF"/>
                </a:solidFill>
                <a:latin typeface="Calibri Light" panose="020F0302020204030204"/>
              </a:rPr>
              <a:t>Not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06DCFBF-822D-4616-860A-1DA4B2BDA127}"/>
              </a:ext>
            </a:extLst>
          </p:cNvPr>
          <p:cNvSpPr/>
          <p:nvPr/>
        </p:nvSpPr>
        <p:spPr>
          <a:xfrm>
            <a:off x="9600459" y="1987561"/>
            <a:ext cx="1915452" cy="334691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US" b="1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EE63557-5440-4147-82F6-4D9D1CB31EC8}"/>
              </a:ext>
            </a:extLst>
          </p:cNvPr>
          <p:cNvSpPr txBox="1"/>
          <p:nvPr/>
        </p:nvSpPr>
        <p:spPr>
          <a:xfrm>
            <a:off x="9609975" y="2302825"/>
            <a:ext cx="19059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Unlimited usag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906B7E2-0569-4886-99FF-B4B427AD0329}"/>
              </a:ext>
            </a:extLst>
          </p:cNvPr>
          <p:cNvSpPr txBox="1"/>
          <p:nvPr/>
        </p:nvSpPr>
        <p:spPr>
          <a:xfrm>
            <a:off x="7372074" y="2958584"/>
            <a:ext cx="21233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$30 / Month; $0 NRC</a:t>
            </a:r>
          </a:p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$40 / Month; $0 NRC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64DA77A-10D5-405C-849D-A9E121D17DC2}"/>
              </a:ext>
            </a:extLst>
          </p:cNvPr>
          <p:cNvSpPr txBox="1"/>
          <p:nvPr/>
        </p:nvSpPr>
        <p:spPr>
          <a:xfrm>
            <a:off x="2918479" y="2958583"/>
            <a:ext cx="21233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Cares 25 (Starter) - NEW</a:t>
            </a:r>
          </a:p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Cares 50 (Essential) *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3B44435-9093-4665-99AB-EFDBD9F4D5F4}"/>
              </a:ext>
            </a:extLst>
          </p:cNvPr>
          <p:cNvSpPr txBox="1"/>
          <p:nvPr/>
        </p:nvSpPr>
        <p:spPr>
          <a:xfrm>
            <a:off x="5153760" y="2962148"/>
            <a:ext cx="21256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25 Mbps / 3 Mbps</a:t>
            </a:r>
          </a:p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50 Mbps / 3 Mbp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5CE448D-D308-42C6-A2ED-96647F538D4C}"/>
              </a:ext>
            </a:extLst>
          </p:cNvPr>
          <p:cNvSpPr txBox="1"/>
          <p:nvPr/>
        </p:nvSpPr>
        <p:spPr>
          <a:xfrm>
            <a:off x="9588045" y="2873357"/>
            <a:ext cx="19278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Self-Install; $100 Pro Install</a:t>
            </a:r>
          </a:p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Overage*: $10/50GB over 1.25TB OR $50 Unlimited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1218572-988D-44A6-99A1-BB9D3DAB8B7F}"/>
              </a:ext>
            </a:extLst>
          </p:cNvPr>
          <p:cNvSpPr txBox="1"/>
          <p:nvPr/>
        </p:nvSpPr>
        <p:spPr>
          <a:xfrm>
            <a:off x="2918479" y="4296044"/>
            <a:ext cx="21233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Subsidized by School District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9F0BDEC-1353-44A1-AC73-8ECA9A042629}"/>
              </a:ext>
            </a:extLst>
          </p:cNvPr>
          <p:cNvSpPr txBox="1"/>
          <p:nvPr/>
        </p:nvSpPr>
        <p:spPr>
          <a:xfrm>
            <a:off x="5154931" y="4307146"/>
            <a:ext cx="2125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Varies by property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DBF2020-881F-4392-92F9-630D1473A2B8}"/>
              </a:ext>
            </a:extLst>
          </p:cNvPr>
          <p:cNvSpPr txBox="1"/>
          <p:nvPr/>
        </p:nvSpPr>
        <p:spPr>
          <a:xfrm>
            <a:off x="7379803" y="4297911"/>
            <a:ext cx="2125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Varies by property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98A000F-F22E-4AE3-9E72-8F39C55052A1}"/>
              </a:ext>
            </a:extLst>
          </p:cNvPr>
          <p:cNvSpPr txBox="1"/>
          <p:nvPr/>
        </p:nvSpPr>
        <p:spPr>
          <a:xfrm>
            <a:off x="2922829" y="4712894"/>
            <a:ext cx="21188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Subsidized by School District</a:t>
            </a:r>
          </a:p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Can be in each MDU or around MDU Campu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0F48BF9-6D0B-4D30-8B3B-BA633F98DBDC}"/>
              </a:ext>
            </a:extLst>
          </p:cNvPr>
          <p:cNvSpPr/>
          <p:nvPr/>
        </p:nvSpPr>
        <p:spPr>
          <a:xfrm>
            <a:off x="269967" y="2786254"/>
            <a:ext cx="11385219" cy="816445"/>
          </a:xfrm>
          <a:prstGeom prst="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39AFBEE-D89F-4656-8715-4F5A86DF46A9}"/>
              </a:ext>
            </a:extLst>
          </p:cNvPr>
          <p:cNvSpPr txBox="1"/>
          <p:nvPr/>
        </p:nvSpPr>
        <p:spPr>
          <a:xfrm>
            <a:off x="7365125" y="4805225"/>
            <a:ext cx="21233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System Pricing/ Month / AP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2A81B33-B64A-415D-ACAA-61BCA1AB9B6D}"/>
              </a:ext>
            </a:extLst>
          </p:cNvPr>
          <p:cNvSpPr txBox="1"/>
          <p:nvPr/>
        </p:nvSpPr>
        <p:spPr>
          <a:xfrm>
            <a:off x="1353910" y="3688852"/>
            <a:ext cx="13242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>
              <a:defRPr/>
            </a:pPr>
            <a:r>
              <a:rPr lang="en-US" sz="1200" i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Right of way agreement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BA1A6339-18AF-44ED-A281-BA2B10B34D06}"/>
              </a:ext>
            </a:extLst>
          </p:cNvPr>
          <p:cNvSpPr txBox="1"/>
          <p:nvPr/>
        </p:nvSpPr>
        <p:spPr>
          <a:xfrm>
            <a:off x="9588044" y="4301071"/>
            <a:ext cx="19059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Engage MDU Team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4657498-D1BF-4FF3-A992-03D0156B6EA8}"/>
              </a:ext>
            </a:extLst>
          </p:cNvPr>
          <p:cNvSpPr txBox="1"/>
          <p:nvPr/>
        </p:nvSpPr>
        <p:spPr>
          <a:xfrm>
            <a:off x="5167751" y="4805223"/>
            <a:ext cx="21256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All  Existing Speed Tier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7B93EA9-4D25-41AC-BC9F-816E42610FBD}"/>
              </a:ext>
            </a:extLst>
          </p:cNvPr>
          <p:cNvSpPr txBox="1"/>
          <p:nvPr/>
        </p:nvSpPr>
        <p:spPr>
          <a:xfrm>
            <a:off x="2918479" y="5580521"/>
            <a:ext cx="12790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Authentication</a:t>
            </a:r>
          </a:p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Content Filtering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8AA2402-1B1D-4E55-AC47-144D3AC1C74B}"/>
              </a:ext>
            </a:extLst>
          </p:cNvPr>
          <p:cNvSpPr txBox="1"/>
          <p:nvPr/>
        </p:nvSpPr>
        <p:spPr>
          <a:xfrm>
            <a:off x="7365125" y="5582738"/>
            <a:ext cx="21233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$2.50 / Month / Device</a:t>
            </a:r>
          </a:p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$5.00 / Month / Device for both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CA0FB8C-FC9C-46AE-BEDF-14DB2E8D2494}"/>
              </a:ext>
            </a:extLst>
          </p:cNvPr>
          <p:cNvSpPr txBox="1"/>
          <p:nvPr/>
        </p:nvSpPr>
        <p:spPr>
          <a:xfrm>
            <a:off x="4389120" y="5587685"/>
            <a:ext cx="6595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School SSID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23C3B9D-9FFF-4342-A2EE-BFFA9254DB2F}"/>
              </a:ext>
            </a:extLst>
          </p:cNvPr>
          <p:cNvSpPr txBox="1"/>
          <p:nvPr/>
        </p:nvSpPr>
        <p:spPr>
          <a:xfrm>
            <a:off x="455841" y="5585818"/>
            <a:ext cx="235746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600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= Add On Features</a:t>
            </a:r>
          </a:p>
        </p:txBody>
      </p:sp>
      <p:pic>
        <p:nvPicPr>
          <p:cNvPr id="60" name="Graphic 59" descr="Add">
            <a:extLst>
              <a:ext uri="{FF2B5EF4-FFF2-40B4-BE49-F238E27FC236}">
                <a16:creationId xmlns:a16="http://schemas.microsoft.com/office/drawing/2014/main" id="{C787391C-1873-4CBA-B43D-C9DAEF3FD51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59409" y="5692115"/>
            <a:ext cx="251755" cy="251755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E23A727E-5788-4776-B5E2-52F1311A6D05}"/>
              </a:ext>
            </a:extLst>
          </p:cNvPr>
          <p:cNvSpPr txBox="1"/>
          <p:nvPr/>
        </p:nvSpPr>
        <p:spPr>
          <a:xfrm>
            <a:off x="9600461" y="5574182"/>
            <a:ext cx="18843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sz="1200" b="1">
                <a:solidFill>
                  <a:srgbClr val="000000">
                    <a:lumMod val="65000"/>
                    <a:lumOff val="35000"/>
                  </a:srgbClr>
                </a:solidFill>
                <a:latin typeface="Calibri Light" panose="020F0302020204030204"/>
              </a:rPr>
              <a:t>ADFS (Active Directory) only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7696F23-A901-4D0F-9EF0-C608A17C15FE}"/>
              </a:ext>
            </a:extLst>
          </p:cNvPr>
          <p:cNvSpPr/>
          <p:nvPr/>
        </p:nvSpPr>
        <p:spPr>
          <a:xfrm>
            <a:off x="396800" y="1035327"/>
            <a:ext cx="11385219" cy="50292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C9EEC51D-4DD0-4120-9CA1-635620584317}"/>
              </a:ext>
            </a:extLst>
          </p:cNvPr>
          <p:cNvSpPr txBox="1"/>
          <p:nvPr/>
        </p:nvSpPr>
        <p:spPr>
          <a:xfrm>
            <a:off x="1064053" y="1127470"/>
            <a:ext cx="96577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i="1">
                <a:solidFill>
                  <a:prstClr val="black"/>
                </a:solidFill>
                <a:latin typeface="Calibri" panose="020F0502020204030204"/>
              </a:rPr>
              <a:t>Solutions in response to the CARES Act funding allocation needs.</a:t>
            </a:r>
          </a:p>
        </p:txBody>
      </p:sp>
      <p:pic>
        <p:nvPicPr>
          <p:cNvPr id="66" name="Graphic 65" descr="Wireless">
            <a:extLst>
              <a:ext uri="{FF2B5EF4-FFF2-40B4-BE49-F238E27FC236}">
                <a16:creationId xmlns:a16="http://schemas.microsoft.com/office/drawing/2014/main" id="{183D3A5F-BE3B-4B2C-ACA2-BA3BEF2646F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16411" y="1016024"/>
            <a:ext cx="566085" cy="566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086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95109E0-73A5-4603-B92D-603F4D5927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ES ACT Residential Internet Solutions: Speed Increa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7AF55F1-6BE0-4741-B33B-A6EE6C97A2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CI Proprietary and Confidential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F4D0AAA-37AC-5A45-8FEB-4E50CF9C24B8}"/>
              </a:ext>
            </a:extLst>
          </p:cNvPr>
          <p:cNvSpPr/>
          <p:nvPr/>
        </p:nvSpPr>
        <p:spPr bwMode="auto">
          <a:xfrm>
            <a:off x="764855" y="921247"/>
            <a:ext cx="1940943" cy="4436565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ＭＳ Ｐゴシック" pitchFamily="-28" charset="-128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B872784-23D1-5845-ABF3-9CD6A1485914}"/>
              </a:ext>
            </a:extLst>
          </p:cNvPr>
          <p:cNvSpPr/>
          <p:nvPr/>
        </p:nvSpPr>
        <p:spPr bwMode="auto">
          <a:xfrm>
            <a:off x="1345720" y="1206877"/>
            <a:ext cx="2277373" cy="4339087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normalizeH="0" baseline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latin typeface="Verdana" pitchFamily="34" charset="0"/>
              <a:ea typeface="ＭＳ Ｐゴシック" pitchFamily="-28" charset="-128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405B5D0-D790-1346-872F-943E536AB081}"/>
              </a:ext>
            </a:extLst>
          </p:cNvPr>
          <p:cNvSpPr/>
          <p:nvPr/>
        </p:nvSpPr>
        <p:spPr bwMode="auto">
          <a:xfrm>
            <a:off x="2786332" y="1206877"/>
            <a:ext cx="914400" cy="914400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ＭＳ Ｐゴシック" pitchFamily="-28" charset="-128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0BA6BD1-28D8-E449-9DD7-F5368E11570B}"/>
              </a:ext>
            </a:extLst>
          </p:cNvPr>
          <p:cNvSpPr/>
          <p:nvPr/>
        </p:nvSpPr>
        <p:spPr bwMode="auto">
          <a:xfrm>
            <a:off x="1621767" y="1042976"/>
            <a:ext cx="1664896" cy="3278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ＭＳ Ｐゴシック" pitchFamily="-28" charset="-128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52050FD-1F75-3540-BC85-BAC9FC210AD5}"/>
              </a:ext>
            </a:extLst>
          </p:cNvPr>
          <p:cNvSpPr/>
          <p:nvPr/>
        </p:nvSpPr>
        <p:spPr bwMode="auto">
          <a:xfrm>
            <a:off x="7470475" y="1288681"/>
            <a:ext cx="190499" cy="4571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ＭＳ Ｐゴシック" pitchFamily="-28" charset="-128"/>
            </a:endParaRPr>
          </a:p>
        </p:txBody>
      </p:sp>
      <p:graphicFrame>
        <p:nvGraphicFramePr>
          <p:cNvPr id="33" name="Content Placeholder 5">
            <a:extLst>
              <a:ext uri="{FF2B5EF4-FFF2-40B4-BE49-F238E27FC236}">
                <a16:creationId xmlns:a16="http://schemas.microsoft.com/office/drawing/2014/main" id="{F872A205-E84B-5543-8D0F-1FACEF96271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42057613"/>
              </p:ext>
            </p:extLst>
          </p:nvPr>
        </p:nvGraphicFramePr>
        <p:xfrm>
          <a:off x="485678" y="1187377"/>
          <a:ext cx="11069828" cy="50497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67107">
                  <a:extLst>
                    <a:ext uri="{9D8B030D-6E8A-4147-A177-3AD203B41FA5}">
                      <a16:colId xmlns:a16="http://schemas.microsoft.com/office/drawing/2014/main" val="447568989"/>
                    </a:ext>
                  </a:extLst>
                </a:gridCol>
                <a:gridCol w="4557426">
                  <a:extLst>
                    <a:ext uri="{9D8B030D-6E8A-4147-A177-3AD203B41FA5}">
                      <a16:colId xmlns:a16="http://schemas.microsoft.com/office/drawing/2014/main" val="2645328011"/>
                    </a:ext>
                  </a:extLst>
                </a:gridCol>
                <a:gridCol w="1959381">
                  <a:extLst>
                    <a:ext uri="{9D8B030D-6E8A-4147-A177-3AD203B41FA5}">
                      <a16:colId xmlns:a16="http://schemas.microsoft.com/office/drawing/2014/main" val="3945214200"/>
                    </a:ext>
                  </a:extLst>
                </a:gridCol>
                <a:gridCol w="2285914">
                  <a:extLst>
                    <a:ext uri="{9D8B030D-6E8A-4147-A177-3AD203B41FA5}">
                      <a16:colId xmlns:a16="http://schemas.microsoft.com/office/drawing/2014/main" val="2328556432"/>
                    </a:ext>
                  </a:extLst>
                </a:gridCol>
              </a:tblGrid>
              <a:tr h="630139">
                <a:tc>
                  <a:txBody>
                    <a:bodyPr/>
                    <a:lstStyle/>
                    <a:p>
                      <a:pPr algn="l"/>
                      <a:r>
                        <a:rPr lang="en-US" sz="2400" b="1" i="0" cap="all" baseline="0" dirty="0">
                          <a:solidFill>
                            <a:srgbClr val="FFFFFF"/>
                          </a:solidFill>
                          <a:latin typeface="+mj-lt"/>
                        </a:rPr>
                        <a:t>PRODUCT</a:t>
                      </a:r>
                    </a:p>
                  </a:txBody>
                  <a:tcPr marL="18288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189" rtl="0" eaLnBrk="1" latinLnBrk="0" hangingPunct="1"/>
                      <a:r>
                        <a:rPr lang="en-US" sz="2400" b="1" i="0" kern="1200" cap="all" baseline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18288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189" rtl="0" eaLnBrk="1" latinLnBrk="0" hangingPunct="1"/>
                      <a:r>
                        <a:rPr lang="en-US" sz="2400" b="1" i="0" kern="1200" cap="all" baseline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SPEED</a:t>
                      </a:r>
                    </a:p>
                  </a:txBody>
                  <a:tcPr marL="18288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457189" rtl="0" eaLnBrk="1" latinLnBrk="0" hangingPunct="1"/>
                      <a:r>
                        <a:rPr lang="en-US" sz="2400" b="1" i="0" kern="1200" cap="all" baseline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cost</a:t>
                      </a:r>
                    </a:p>
                  </a:txBody>
                  <a:tcPr marL="18288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2233630"/>
                  </a:ext>
                </a:extLst>
              </a:tr>
              <a:tr h="1510256">
                <a:tc>
                  <a:txBody>
                    <a:bodyPr/>
                    <a:lstStyle/>
                    <a:p>
                      <a:r>
                        <a:rPr lang="en-US" sz="1600" b="0" i="0" dirty="0">
                          <a:solidFill>
                            <a:srgbClr val="595959"/>
                          </a:solidFill>
                          <a:latin typeface="+mj-lt"/>
                        </a:rPr>
                        <a:t>Cox Connect2Compete</a:t>
                      </a:r>
                    </a:p>
                  </a:txBody>
                  <a:tcPr marL="18288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0" i="1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Qualified </a:t>
                      </a:r>
                      <a: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offer for National School Lunch (NSLP), SNAP, TANF, Public Housing</a:t>
                      </a:r>
                      <a:b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b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No data overages; </a:t>
                      </a:r>
                      <a:r>
                        <a:rPr lang="en-US" sz="1600" b="0" i="0" kern="1200" dirty="0" err="1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WiFi</a:t>
                      </a:r>
                      <a: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 modem rental included</a:t>
                      </a:r>
                    </a:p>
                  </a:txBody>
                  <a:tcPr marL="18288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i="1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Temporarily: </a:t>
                      </a:r>
                      <a:endParaRPr lang="en-US" sz="1600" b="1" i="1" kern="1200" dirty="0">
                        <a:solidFill>
                          <a:srgbClr val="595959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algn="l"/>
                      <a:r>
                        <a:rPr lang="en-US" sz="1600" b="1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50 </a:t>
                      </a:r>
                      <a:r>
                        <a:rPr lang="en-US" sz="1600" b="1" i="0" kern="1200" dirty="0" err="1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Mpbs</a:t>
                      </a:r>
                      <a:r>
                        <a:rPr lang="en-US" sz="1600" b="1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/3 </a:t>
                      </a:r>
                      <a:r>
                        <a:rPr lang="en-US" sz="1600" b="1" i="0" kern="1200" dirty="0" err="1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Mpbs</a:t>
                      </a:r>
                      <a:r>
                        <a:rPr lang="en-US" sz="1600" b="1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 through 6/30/21; </a:t>
                      </a:r>
                      <a:b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b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25 </a:t>
                      </a:r>
                      <a:r>
                        <a:rPr lang="en-US" sz="1600" b="0" i="0" kern="1200" dirty="0" err="1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Mpbs</a:t>
                      </a:r>
                      <a: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/3 </a:t>
                      </a:r>
                      <a:r>
                        <a:rPr lang="en-US" sz="1600" b="0" i="0" kern="1200" dirty="0" err="1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Mpbs</a:t>
                      </a:r>
                      <a: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 thereafter</a:t>
                      </a:r>
                    </a:p>
                  </a:txBody>
                  <a:tcPr marL="18288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$9.95/month* </a:t>
                      </a:r>
                      <a:b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b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*Customer must qualify</a:t>
                      </a:r>
                    </a:p>
                  </a:txBody>
                  <a:tcPr marL="18288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4583493"/>
                  </a:ext>
                </a:extLst>
              </a:tr>
              <a:tr h="1510256">
                <a:tc>
                  <a:txBody>
                    <a:bodyPr/>
                    <a:lstStyle/>
                    <a:p>
                      <a:pPr marL="0" marR="0" lvl="0" indent="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CARES Starter Internet</a:t>
                      </a:r>
                    </a:p>
                  </a:txBody>
                  <a:tcPr marL="18288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189" rtl="0" eaLnBrk="1" latinLnBrk="0" hangingPunct="1"/>
                      <a: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Non-qualified offer for customers who do not meet C2C eligibility (including students and faculty)</a:t>
                      </a:r>
                      <a:b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b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Modem rental included; includes 1.25 TB data (data overages are $10/50 GB – paid by end user)</a:t>
                      </a:r>
                    </a:p>
                  </a:txBody>
                  <a:tcPr marL="18288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1" i="1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Temporarily: </a:t>
                      </a:r>
                      <a:br>
                        <a:rPr lang="en-US" sz="1600" b="1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US" sz="1600" b="1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50 </a:t>
                      </a:r>
                      <a:r>
                        <a:rPr lang="en-US" sz="1600" b="1" i="0" kern="1200" dirty="0" err="1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Mpbs</a:t>
                      </a:r>
                      <a:r>
                        <a:rPr lang="en-US" sz="1600" b="1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/3 </a:t>
                      </a:r>
                      <a:r>
                        <a:rPr lang="en-US" sz="1600" b="1" i="0" kern="1200" dirty="0" err="1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Mpbs</a:t>
                      </a:r>
                      <a:r>
                        <a:rPr lang="en-US" sz="1600" b="1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 through 6/30/21; </a:t>
                      </a:r>
                      <a:b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b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25 </a:t>
                      </a:r>
                      <a:r>
                        <a:rPr lang="en-US" sz="1600" b="0" i="0" kern="1200" dirty="0" err="1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Mpbs</a:t>
                      </a:r>
                      <a: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/3 </a:t>
                      </a:r>
                      <a:r>
                        <a:rPr lang="en-US" sz="1600" b="0" i="0" kern="1200" dirty="0" err="1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Mpbs</a:t>
                      </a:r>
                      <a: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 thereafter</a:t>
                      </a:r>
                    </a:p>
                  </a:txBody>
                  <a:tcPr marL="18288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189" rtl="0" eaLnBrk="1" latinLnBrk="0" hangingPunct="1"/>
                      <a: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$30/month</a:t>
                      </a:r>
                    </a:p>
                  </a:txBody>
                  <a:tcPr marL="18288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0508085"/>
                  </a:ext>
                </a:extLst>
              </a:tr>
              <a:tr h="1273353">
                <a:tc>
                  <a:txBody>
                    <a:bodyPr/>
                    <a:lstStyle/>
                    <a:p>
                      <a:pPr marL="0" marR="0" lvl="0" indent="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CARES Essential Internet</a:t>
                      </a:r>
                    </a:p>
                  </a:txBody>
                  <a:tcPr marL="18288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189" rtl="0" eaLnBrk="1" latinLnBrk="0" hangingPunct="1"/>
                      <a: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Non-qualified offer for customers who do not meet C2C eligibility (including students and faculty)</a:t>
                      </a:r>
                      <a:b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b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Modem rental included; includes 1.25 TB data (data overages are $10/50 GB – paid by end user)</a:t>
                      </a:r>
                    </a:p>
                  </a:txBody>
                  <a:tcPr marL="18288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189" rtl="0" eaLnBrk="1" latinLnBrk="0" hangingPunct="1"/>
                      <a: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50 </a:t>
                      </a:r>
                      <a:r>
                        <a:rPr lang="en-US" sz="1600" b="0" i="0" kern="1200" dirty="0" err="1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Mpbs</a:t>
                      </a:r>
                      <a: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/3 </a:t>
                      </a:r>
                      <a:r>
                        <a:rPr lang="en-US" sz="1600" b="0" i="0" kern="1200" dirty="0" err="1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Mpbs</a:t>
                      </a:r>
                      <a: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8288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189" rtl="0" eaLnBrk="1" latinLnBrk="0" hangingPunct="1"/>
                      <a:r>
                        <a:rPr lang="en-US" sz="1600" b="1" i="1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Temporarily: </a:t>
                      </a:r>
                      <a:r>
                        <a:rPr lang="en-US" sz="1600" b="1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$30/month through 6/30/21;</a:t>
                      </a:r>
                      <a: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b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US" sz="1600" b="0" i="0" kern="1200" dirty="0">
                          <a:solidFill>
                            <a:srgbClr val="595959"/>
                          </a:solidFill>
                          <a:latin typeface="+mj-lt"/>
                          <a:ea typeface="+mn-ea"/>
                          <a:cs typeface="+mn-cs"/>
                        </a:rPr>
                        <a:t>$40/month thereafter</a:t>
                      </a:r>
                    </a:p>
                  </a:txBody>
                  <a:tcPr marL="18288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57459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343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FF0E9E-8C13-4894-894C-8F2F5F20C3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strict Proc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A835F8-5C5F-4D13-A40D-9687E4B80E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422C15F7-63BE-4E75-8A9C-5C72F260E8F9}"/>
              </a:ext>
            </a:extLst>
          </p:cNvPr>
          <p:cNvGraphicFramePr/>
          <p:nvPr/>
        </p:nvGraphicFramePr>
        <p:xfrm>
          <a:off x="574765" y="1381632"/>
          <a:ext cx="10885715" cy="55411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EB7C3980-CD17-4657-B519-439ED82F20BD}"/>
              </a:ext>
            </a:extLst>
          </p:cNvPr>
          <p:cNvSpPr txBox="1"/>
          <p:nvPr/>
        </p:nvSpPr>
        <p:spPr>
          <a:xfrm>
            <a:off x="574767" y="1628685"/>
            <a:ext cx="3013165" cy="3693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b="1">
                <a:solidFill>
                  <a:srgbClr val="FFFFFF"/>
                </a:solidFill>
                <a:latin typeface="Calibri Light" panose="020F0302020204030204"/>
              </a:rPr>
              <a:t>School Distric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1235575-A921-45BA-9130-9ED2EBE37344}"/>
              </a:ext>
            </a:extLst>
          </p:cNvPr>
          <p:cNvSpPr txBox="1"/>
          <p:nvPr/>
        </p:nvSpPr>
        <p:spPr>
          <a:xfrm>
            <a:off x="4511040" y="1628685"/>
            <a:ext cx="3013165" cy="3693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b="1">
                <a:solidFill>
                  <a:srgbClr val="FFFFFF"/>
                </a:solidFill>
                <a:latin typeface="Calibri Light" panose="020F0302020204030204"/>
              </a:rPr>
              <a:t>Co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BE4B6F-BC54-4856-8E08-C8DB2D94BAC5}"/>
              </a:ext>
            </a:extLst>
          </p:cNvPr>
          <p:cNvSpPr txBox="1"/>
          <p:nvPr/>
        </p:nvSpPr>
        <p:spPr>
          <a:xfrm>
            <a:off x="8286207" y="1628685"/>
            <a:ext cx="3013165" cy="3693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en-US" b="1">
                <a:solidFill>
                  <a:srgbClr val="FFFFFF"/>
                </a:solidFill>
                <a:latin typeface="Calibri Light" panose="020F0302020204030204"/>
              </a:rPr>
              <a:t>School Distric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0C0F6D0-7E36-4E32-ACE5-ADAF2ECA3CE9}"/>
              </a:ext>
            </a:extLst>
          </p:cNvPr>
          <p:cNvSpPr/>
          <p:nvPr/>
        </p:nvSpPr>
        <p:spPr>
          <a:xfrm>
            <a:off x="396800" y="982161"/>
            <a:ext cx="11385219" cy="50292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1" name="Graphic 10" descr="Schoolhouse">
            <a:extLst>
              <a:ext uri="{FF2B5EF4-FFF2-40B4-BE49-F238E27FC236}">
                <a16:creationId xmlns:a16="http://schemas.microsoft.com/office/drawing/2014/main" id="{2FE1DCAB-B47E-407E-AA08-3F87CEA47ED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8865" y="1004809"/>
            <a:ext cx="462531" cy="46253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FAA6FE4-EAA5-42DB-BB4D-7566E6CBCF7C}"/>
              </a:ext>
            </a:extLst>
          </p:cNvPr>
          <p:cNvSpPr txBox="1"/>
          <p:nvPr/>
        </p:nvSpPr>
        <p:spPr>
          <a:xfrm>
            <a:off x="1568193" y="1085133"/>
            <a:ext cx="96577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i="1">
                <a:solidFill>
                  <a:prstClr val="black"/>
                </a:solidFill>
                <a:latin typeface="Calibri" panose="020F0502020204030204"/>
              </a:rPr>
              <a:t>When a school chooses to pursue Cox’s solution for remote learning, this is how they </a:t>
            </a:r>
            <a:r>
              <a:rPr lang="en-US" sz="1400" i="1" err="1">
                <a:solidFill>
                  <a:prstClr val="black"/>
                </a:solidFill>
                <a:latin typeface="Calibri" panose="020F0502020204030204"/>
              </a:rPr>
              <a:t>wil</a:t>
            </a:r>
            <a:r>
              <a:rPr lang="en-US" sz="1400" i="1">
                <a:solidFill>
                  <a:prstClr val="black"/>
                </a:solidFill>
                <a:latin typeface="Calibri" panose="020F0502020204030204"/>
              </a:rPr>
              <a:t>l engage.</a:t>
            </a:r>
          </a:p>
        </p:txBody>
      </p:sp>
    </p:spTree>
    <p:extLst>
      <p:ext uri="{BB962C8B-B14F-4D97-AF65-F5344CB8AC3E}">
        <p14:creationId xmlns:p14="http://schemas.microsoft.com/office/powerpoint/2010/main" val="353344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nline Media 6" title="Managed Device as a Service for Education">
            <a:hlinkClick r:id="" action="ppaction://media"/>
            <a:extLst>
              <a:ext uri="{FF2B5EF4-FFF2-40B4-BE49-F238E27FC236}">
                <a16:creationId xmlns:a16="http://schemas.microsoft.com/office/drawing/2014/main" id="{01C91BA0-8FA8-4C5C-A879-43DC28100D09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4"/>
          <a:stretch>
            <a:fillRect/>
          </a:stretch>
        </p:blipFill>
        <p:spPr>
          <a:xfrm>
            <a:off x="0" y="-15240"/>
            <a:ext cx="12192000" cy="6873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26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D5BC6D-F411-477E-9667-E648D7ACB9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" y="243840"/>
            <a:ext cx="10736753" cy="495664"/>
          </a:xfrm>
        </p:spPr>
        <p:txBody>
          <a:bodyPr/>
          <a:lstStyle/>
          <a:p>
            <a:r>
              <a:rPr lang="en-US" dirty="0"/>
              <a:t>Managed device as a Servi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6E4DE2C-7668-40CE-9A77-08314D4187EF}"/>
              </a:ext>
            </a:extLst>
          </p:cNvPr>
          <p:cNvSpPr txBox="1"/>
          <p:nvPr/>
        </p:nvSpPr>
        <p:spPr>
          <a:xfrm>
            <a:off x="1479812" y="1028845"/>
            <a:ext cx="7359387" cy="899345"/>
          </a:xfrm>
          <a:prstGeom prst="rect">
            <a:avLst/>
          </a:prstGeom>
        </p:spPr>
        <p:txBody>
          <a:bodyPr vert="horz" lIns="45714" tIns="22857" rIns="45714" bIns="22857" rtlCol="0" anchor="ctr">
            <a:noAutofit/>
          </a:bodyPr>
          <a:lstStyle/>
          <a:p>
            <a:pPr algn="ctr" defTabSz="457109">
              <a:spcBef>
                <a:spcPct val="0"/>
              </a:spcBef>
              <a:spcAft>
                <a:spcPts val="300"/>
              </a:spcAft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hat is RapidScale Managed Device as a Service</a:t>
            </a:r>
            <a:b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 Educa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5B71EEA-DFB6-458F-B3A6-14459196BE44}"/>
              </a:ext>
            </a:extLst>
          </p:cNvPr>
          <p:cNvSpPr/>
          <p:nvPr/>
        </p:nvSpPr>
        <p:spPr>
          <a:xfrm>
            <a:off x="1120052" y="1995055"/>
            <a:ext cx="7612243" cy="4319731"/>
          </a:xfrm>
          <a:prstGeom prst="rect">
            <a:avLst/>
          </a:prstGeom>
        </p:spPr>
        <p:txBody>
          <a:bodyPr vert="horz" lIns="45714" tIns="22857" rIns="45714" bIns="22857" rtlCol="0">
            <a:normAutofit/>
          </a:bodyPr>
          <a:lstStyle/>
          <a:p>
            <a:pPr marL="0" marR="0" lvl="0" indent="0" algn="ctr" defTabSz="457109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 Hardware + Support + Warranties </a:t>
            </a:r>
          </a:p>
          <a:p>
            <a:pPr marL="0" marR="0" lvl="0" indent="0" algn="ctr" defTabSz="457109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All at One Affordable Predictable Monthly Price</a:t>
            </a:r>
          </a:p>
          <a:p>
            <a:pPr marL="0" marR="0" lvl="0" indent="-114277" defTabSz="457109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</a:endParaRPr>
          </a:p>
          <a:p>
            <a:pPr marL="0" marR="0" lvl="0" indent="0" algn="ctr" defTabSz="457109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RapidScale’s All Inclusive Device as a Service offering provides you with a predictable monthly price, ensuring you have device choice </a:t>
            </a:r>
            <a:r>
              <a:rPr lang="en-US" sz="14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d scalability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, in addition you receive 24 / 7 US-based support and a 3-year warranty covering accidental damage, loss,</a:t>
            </a:r>
            <a:r>
              <a:rPr lang="en-US" sz="14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and theft protection.  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(terms and conditions apply)</a:t>
            </a:r>
          </a:p>
          <a:p>
            <a:pPr marL="0" marR="0" lvl="0" indent="-114277" defTabSz="457109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</a:endParaRPr>
          </a:p>
          <a:p>
            <a:pPr marR="0" lvl="0" defTabSz="457109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</a:endParaRPr>
          </a:p>
          <a:p>
            <a:pPr marL="457109" marR="0" lvl="1" indent="-171416" defTabSz="457109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Choose from 3 great Original Equipment Manufacturer “OEM’s” 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(LG, Samsung, HP)</a:t>
            </a:r>
          </a:p>
          <a:p>
            <a:pPr marL="457109" marR="0" lvl="1" indent="-171416" defTabSz="457109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i="1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hoose from Different Devices (Laptops, Chromebooks &amp; Tablets)</a:t>
            </a:r>
            <a:endParaRPr kumimoji="0" lang="en-US" sz="1400" b="0" i="1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</a:endParaRPr>
          </a:p>
          <a:p>
            <a:pPr marL="457109" marR="0" lvl="1" indent="-171416" defTabSz="457109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Includes Imaging, Kitting, and Shipping</a:t>
            </a:r>
          </a:p>
          <a:p>
            <a:pPr marL="457109" marR="0" lvl="1" indent="-171416" defTabSz="457109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Includes 24 / 7 RapidResponse Support</a:t>
            </a:r>
          </a:p>
          <a:p>
            <a:pPr marL="457109" marR="0" lvl="1" indent="-171416" defTabSz="457109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Includes 3-year warranty covering accidental damage, loss,</a:t>
            </a:r>
            <a:r>
              <a:rPr lang="en-US" sz="14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and theft protection</a:t>
            </a:r>
          </a:p>
          <a:p>
            <a:pPr marL="457109" marR="0" lvl="1" indent="-171416" defTabSz="457109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Fixed Monthly Price 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</a:rPr>
              <a:t>(based on 3-year subscription)</a:t>
            </a:r>
          </a:p>
          <a:p>
            <a:pPr marL="457109" marR="0" lvl="1" indent="-171416" defTabSz="457109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tegration with optional RapidScale services </a:t>
            </a:r>
            <a:r>
              <a:rPr lang="en-US" sz="1400" i="1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M365, IDaaS, DaaS, SD-WAN)</a:t>
            </a:r>
            <a:endParaRPr kumimoji="0" lang="en-US" sz="1400" b="0" i="1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</a:endParaRPr>
          </a:p>
        </p:txBody>
      </p:sp>
      <p:pic>
        <p:nvPicPr>
          <p:cNvPr id="2" name="Picture 1" descr="Samsung Logo | The most famous brands and company logos in the world">
            <a:extLst>
              <a:ext uri="{FF2B5EF4-FFF2-40B4-BE49-F238E27FC236}">
                <a16:creationId xmlns:a16="http://schemas.microsoft.com/office/drawing/2014/main" id="{8C704CE7-D3C0-42D4-BD31-C091226ACD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686940" y="4524246"/>
            <a:ext cx="1665292" cy="872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" descr="Image result for HP icon">
            <a:extLst>
              <a:ext uri="{FF2B5EF4-FFF2-40B4-BE49-F238E27FC236}">
                <a16:creationId xmlns:a16="http://schemas.microsoft.com/office/drawing/2014/main" id="{6B99A3F5-5D8D-4B3E-AA7E-F2552081E3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620333" y="1106305"/>
            <a:ext cx="1795969" cy="1795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6" descr="LG Logo PNG Transparent &amp; SVG Vector - Freebie Supply">
            <a:extLst>
              <a:ext uri="{FF2B5EF4-FFF2-40B4-BE49-F238E27FC236}">
                <a16:creationId xmlns:a16="http://schemas.microsoft.com/office/drawing/2014/main" id="{C31E99A1-3246-4FE5-88CD-E8BA0B93DE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6136" y="3083256"/>
            <a:ext cx="2143972" cy="1541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1159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4E81532-2961-48CD-A279-3DAA141D04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ice Selection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836D6FBA-0AE9-42EA-9CD0-4BCE1DBADDFC}"/>
              </a:ext>
            </a:extLst>
          </p:cNvPr>
          <p:cNvGraphicFramePr>
            <a:graphicFrameLocks noGrp="1"/>
          </p:cNvGraphicFramePr>
          <p:nvPr/>
        </p:nvGraphicFramePr>
        <p:xfrm>
          <a:off x="371237" y="913546"/>
          <a:ext cx="11193675" cy="5030907"/>
        </p:xfrm>
        <a:graphic>
          <a:graphicData uri="http://schemas.openxmlformats.org/drawingml/2006/table">
            <a:tbl>
              <a:tblPr firstRow="1" bandRow="1"/>
              <a:tblGrid>
                <a:gridCol w="1698000">
                  <a:extLst>
                    <a:ext uri="{9D8B030D-6E8A-4147-A177-3AD203B41FA5}">
                      <a16:colId xmlns:a16="http://schemas.microsoft.com/office/drawing/2014/main" val="194014947"/>
                    </a:ext>
                  </a:extLst>
                </a:gridCol>
                <a:gridCol w="5626815">
                  <a:extLst>
                    <a:ext uri="{9D8B030D-6E8A-4147-A177-3AD203B41FA5}">
                      <a16:colId xmlns:a16="http://schemas.microsoft.com/office/drawing/2014/main" val="195552913"/>
                    </a:ext>
                  </a:extLst>
                </a:gridCol>
                <a:gridCol w="2036242">
                  <a:extLst>
                    <a:ext uri="{9D8B030D-6E8A-4147-A177-3AD203B41FA5}">
                      <a16:colId xmlns:a16="http://schemas.microsoft.com/office/drawing/2014/main" val="3929208923"/>
                    </a:ext>
                  </a:extLst>
                </a:gridCol>
                <a:gridCol w="1832618">
                  <a:extLst>
                    <a:ext uri="{9D8B030D-6E8A-4147-A177-3AD203B41FA5}">
                      <a16:colId xmlns:a16="http://schemas.microsoft.com/office/drawing/2014/main" val="116503553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26035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FFFFFF"/>
                          </a:solidFill>
                          <a:effectLst/>
                          <a:latin typeface="Montserra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EM</a:t>
                      </a:r>
                      <a:endParaRPr lang="en-US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709E"/>
                    </a:solidFill>
                  </a:tcPr>
                </a:tc>
                <a:tc>
                  <a:txBody>
                    <a:bodyPr/>
                    <a:lstStyle/>
                    <a:p>
                      <a:pPr marL="26035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FFFFFF"/>
                          </a:solidFill>
                          <a:effectLst/>
                          <a:latin typeface="Montserra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ecifications</a:t>
                      </a:r>
                      <a:endParaRPr lang="en-US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709E"/>
                    </a:solidFill>
                  </a:tcPr>
                </a:tc>
                <a:tc>
                  <a:txBody>
                    <a:bodyPr/>
                    <a:lstStyle/>
                    <a:p>
                      <a:pPr marL="26035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FFFFFF"/>
                          </a:solidFill>
                          <a:effectLst/>
                          <a:latin typeface="Montserra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ice Type</a:t>
                      </a:r>
                      <a:endParaRPr lang="en-US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709E"/>
                    </a:solidFill>
                  </a:tcPr>
                </a:tc>
                <a:tc>
                  <a:txBody>
                    <a:bodyPr/>
                    <a:lstStyle/>
                    <a:p>
                      <a:pPr marL="26035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600" dirty="0">
                          <a:solidFill>
                            <a:srgbClr val="FFFFFF"/>
                          </a:solidFill>
                          <a:effectLst/>
                          <a:latin typeface="Montserra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TE Enabled</a:t>
                      </a:r>
                      <a:endParaRPr lang="en-US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70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4105675"/>
                  </a:ext>
                </a:extLst>
              </a:tr>
              <a:tr h="81682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G</a:t>
                      </a:r>
                      <a:endParaRPr lang="en-US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G GPad5: 10.1 FHD screen, 4 GB RAM, 32 GB ROM, Android version 9 (Pie).</a:t>
                      </a:r>
                      <a:endParaRPr lang="en-US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6035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ablet</a:t>
                      </a:r>
                      <a:endParaRPr lang="en-US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6035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US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8928010"/>
                  </a:ext>
                </a:extLst>
              </a:tr>
              <a:tr h="107770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P</a:t>
                      </a:r>
                      <a:endParaRPr lang="en-US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/>
                        <a:t>HP Chromebook 11A G8 EE, A4-9120C APU (1.6 GHz, 1 MB L2 cache), 4 GB 1866 (on Mb), 32GB eMMC, 11.6 LED HD SVA AG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Montserra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6035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hromebook</a:t>
                      </a:r>
                      <a:endParaRPr lang="en-US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endParaRPr lang="en-US" sz="22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5307476"/>
                  </a:ext>
                </a:extLst>
              </a:tr>
              <a:tr h="94683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amsung</a:t>
                      </a:r>
                      <a:endParaRPr lang="en-US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amsung Chromebook: 12.2 1920 x 1200, Intel Celeron Processor 3965Y, 4GB, 32GB, Chrome, Stealth Silver, Verizon.</a:t>
                      </a:r>
                      <a:endParaRPr lang="en-US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6035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hromebook</a:t>
                      </a:r>
                      <a:endParaRPr lang="en-US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6035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US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4152430"/>
                  </a:ext>
                </a:extLst>
              </a:tr>
              <a:tr h="107770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P</a:t>
                      </a:r>
                      <a:endParaRPr lang="en-US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/>
                        <a:t>HP PB640G5 i5-8265U 14 8GB/256 PC Intel i5-8265U, 14.0 FHD AG LED UWVA, UMA, Webcam, 8GB DDR4, 256GB SSD, AC+BT, 3C Batt, FPR, W10 Pro64</a:t>
                      </a:r>
                      <a:endParaRPr lang="en-US" sz="1600" dirty="0">
                        <a:solidFill>
                          <a:srgbClr val="000000"/>
                        </a:solidFill>
                        <a:effectLst/>
                        <a:latin typeface="Montserra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6035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aptop</a:t>
                      </a:r>
                      <a:endParaRPr lang="en-US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6035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600" dirty="0">
                          <a:effectLst/>
                          <a:latin typeface="Montserra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3778900"/>
                  </a:ext>
                </a:extLst>
              </a:tr>
              <a:tr h="81682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amsung</a:t>
                      </a:r>
                      <a:endParaRPr lang="en-US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amsung Galaxy Book Ion: Intel Core i7-10510U, 16 GB memory, 512 GB SSD, Win10 Pro.</a:t>
                      </a:r>
                      <a:endParaRPr lang="en-US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6035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Montserra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aptop</a:t>
                      </a:r>
                      <a:endParaRPr lang="en-US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6035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600" dirty="0">
                          <a:effectLst/>
                          <a:latin typeface="Montserra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14" marR="45714" marT="22857" marB="228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12299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7574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3E95D-3BD4-47B0-B73A-75F9580375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ice pricing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639E658-2F0A-47D1-BDAF-1F9B8ACBCFC4}"/>
              </a:ext>
            </a:extLst>
          </p:cNvPr>
          <p:cNvGraphicFramePr>
            <a:graphicFrameLocks noGrp="1"/>
          </p:cNvGraphicFramePr>
          <p:nvPr/>
        </p:nvGraphicFramePr>
        <p:xfrm>
          <a:off x="493776" y="878862"/>
          <a:ext cx="11082528" cy="4752680"/>
        </p:xfrm>
        <a:graphic>
          <a:graphicData uri="http://schemas.openxmlformats.org/drawingml/2006/table">
            <a:tbl>
              <a:tblPr/>
              <a:tblGrid>
                <a:gridCol w="1320471">
                  <a:extLst>
                    <a:ext uri="{9D8B030D-6E8A-4147-A177-3AD203B41FA5}">
                      <a16:colId xmlns:a16="http://schemas.microsoft.com/office/drawing/2014/main" val="4025590924"/>
                    </a:ext>
                  </a:extLst>
                </a:gridCol>
                <a:gridCol w="3829368">
                  <a:extLst>
                    <a:ext uri="{9D8B030D-6E8A-4147-A177-3AD203B41FA5}">
                      <a16:colId xmlns:a16="http://schemas.microsoft.com/office/drawing/2014/main" val="3992991685"/>
                    </a:ext>
                  </a:extLst>
                </a:gridCol>
                <a:gridCol w="3470430">
                  <a:extLst>
                    <a:ext uri="{9D8B030D-6E8A-4147-A177-3AD203B41FA5}">
                      <a16:colId xmlns:a16="http://schemas.microsoft.com/office/drawing/2014/main" val="927314873"/>
                    </a:ext>
                  </a:extLst>
                </a:gridCol>
                <a:gridCol w="1301791">
                  <a:extLst>
                    <a:ext uri="{9D8B030D-6E8A-4147-A177-3AD203B41FA5}">
                      <a16:colId xmlns:a16="http://schemas.microsoft.com/office/drawing/2014/main" val="2522616526"/>
                    </a:ext>
                  </a:extLst>
                </a:gridCol>
                <a:gridCol w="1160468">
                  <a:extLst>
                    <a:ext uri="{9D8B030D-6E8A-4147-A177-3AD203B41FA5}">
                      <a16:colId xmlns:a16="http://schemas.microsoft.com/office/drawing/2014/main" val="1794540874"/>
                    </a:ext>
                  </a:extLst>
                </a:gridCol>
              </a:tblGrid>
              <a:tr h="47526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Category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Na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RapidScale SKU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 Typ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ic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714701"/>
                  </a:ext>
                </a:extLst>
              </a:tr>
              <a:tr h="47526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Device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LG Tablet with LT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6500-DEVICE-LG-TAB-LT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Recurrin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5.0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2187460"/>
                  </a:ext>
                </a:extLst>
              </a:tr>
              <a:tr h="47526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Device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HP Chromeboo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6500-DEVICE-HP-CRBK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Recurrin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2.0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5201225"/>
                  </a:ext>
                </a:extLst>
              </a:tr>
              <a:tr h="47526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Device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Samsung Chromebook with LT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6500-DEVICE-SAMS-CRBK-LT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Recurrin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38.0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8522444"/>
                  </a:ext>
                </a:extLst>
              </a:tr>
              <a:tr h="47526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Device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HP Laptop I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6500-DEVICE-HP-LPTP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Recurrin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68.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6442094"/>
                  </a:ext>
                </a:extLst>
              </a:tr>
              <a:tr h="47526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Device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Samsung Laptop I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6500-DEVICE-SAMS-LPTP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Recurrin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87.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0295875"/>
                  </a:ext>
                </a:extLst>
              </a:tr>
              <a:tr h="47526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Setup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BARK Opt. out of Service</a:t>
                      </a:r>
                      <a:endParaRPr lang="en-US" sz="14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6500-DEVICE-BARK-EXC-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Setup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0.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2196000"/>
                  </a:ext>
                </a:extLst>
              </a:tr>
              <a:tr h="47526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Setup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ogle Device License</a:t>
                      </a:r>
                      <a:endParaRPr lang="en-US" sz="14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6500-DEVICE-GOOG-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Setup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40.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9235614"/>
                  </a:ext>
                </a:extLst>
              </a:tr>
              <a:tr h="47526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Shipping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RMA-Standard-US-Shipping  </a:t>
                      </a:r>
                      <a:r>
                        <a:rPr lang="en-US" sz="14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6500-STD-USSHIPPIN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Setup </a:t>
                      </a:r>
                      <a:r>
                        <a:rPr lang="en-US" sz="14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0.00 / $16.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1674014"/>
                  </a:ext>
                </a:extLst>
              </a:tr>
              <a:tr h="47526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Shipping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RMA-Expedited-US-Shipping  </a:t>
                      </a:r>
                      <a:r>
                        <a:rPr lang="en-US" sz="14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6500-EXD-USSHIPPIN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Setup </a:t>
                      </a:r>
                      <a:r>
                        <a:rPr lang="en-US" sz="14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0.00 / $22.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5598150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F8E92C1-B4EF-41C6-8A0F-A144606BA8F6}"/>
              </a:ext>
            </a:extLst>
          </p:cNvPr>
          <p:cNvSpPr txBox="1"/>
          <p:nvPr/>
        </p:nvSpPr>
        <p:spPr>
          <a:xfrm>
            <a:off x="363130" y="5703582"/>
            <a:ext cx="114657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1</a:t>
            </a: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– Shipping is billable per device shipped.  If a replacement device is shipped out and an old device shipped for return, this equates to two shipping events.</a:t>
            </a:r>
          </a:p>
          <a:p>
            <a:r>
              <a:rPr lang="en-US" sz="1400" i="1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2 </a:t>
            </a:r>
            <a:r>
              <a:rPr lang="en-US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- $0.00 parts chargeable per RMA instance, per devic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ABFD687-8A79-4CCE-9995-FBA339626820}"/>
              </a:ext>
            </a:extLst>
          </p:cNvPr>
          <p:cNvSpPr txBox="1"/>
          <p:nvPr/>
        </p:nvSpPr>
        <p:spPr>
          <a:xfrm>
            <a:off x="3848436" y="303026"/>
            <a:ext cx="806303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Price List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7727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C293B-7648-417D-A7C4-BC32DAD0A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ice imaging, kitting, and shipp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7100A6-9DEC-4379-97AB-4D1360067B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1056748"/>
            <a:ext cx="5867261" cy="457200"/>
          </a:xfrm>
        </p:spPr>
        <p:txBody>
          <a:bodyPr/>
          <a:lstStyle/>
          <a:p>
            <a:r>
              <a:rPr lang="en-US" sz="2400" dirty="0"/>
              <a:t>Pre-installed software for laptop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6B40009-C0D2-4147-B33F-9FF5180B1692}"/>
              </a:ext>
            </a:extLst>
          </p:cNvPr>
          <p:cNvGraphicFramePr>
            <a:graphicFrameLocks noGrp="1"/>
          </p:cNvGraphicFramePr>
          <p:nvPr/>
        </p:nvGraphicFramePr>
        <p:xfrm>
          <a:off x="953978" y="1427506"/>
          <a:ext cx="5289962" cy="1367795"/>
        </p:xfrm>
        <a:graphic>
          <a:graphicData uri="http://schemas.openxmlformats.org/drawingml/2006/table">
            <a:tbl>
              <a:tblPr firstRow="1" firstCol="1" bandRow="1"/>
              <a:tblGrid>
                <a:gridCol w="2171298">
                  <a:extLst>
                    <a:ext uri="{9D8B030D-6E8A-4147-A177-3AD203B41FA5}">
                      <a16:colId xmlns:a16="http://schemas.microsoft.com/office/drawing/2014/main" val="1100470507"/>
                    </a:ext>
                  </a:extLst>
                </a:gridCol>
                <a:gridCol w="3118664">
                  <a:extLst>
                    <a:ext uri="{9D8B030D-6E8A-4147-A177-3AD203B41FA5}">
                      <a16:colId xmlns:a16="http://schemas.microsoft.com/office/drawing/2014/main" val="2167193152"/>
                    </a:ext>
                  </a:extLst>
                </a:gridCol>
              </a:tblGrid>
              <a:tr h="1367795">
                <a:tc>
                  <a:txBody>
                    <a:bodyPr/>
                    <a:lstStyle/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indows 10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-Zip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dobe Reader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Google Chrome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icrosoft Edge – Chromium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ozilla Firefox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400" dirty="0" err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otePad</a:t>
                      </a: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++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pplicable Drivers</a:t>
                      </a:r>
                      <a:endParaRPr lang="en-US" sz="14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ptional add-on: Microsoft Office 365 suite (</a:t>
                      </a:r>
                      <a:r>
                        <a:rPr lang="en-US" sz="1400" i="1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urchased separately</a:t>
                      </a: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218647"/>
                  </a:ext>
                </a:extLst>
              </a:tr>
            </a:tbl>
          </a:graphicData>
        </a:graphic>
      </p:graphicFrame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68F51DF-8E0F-4B3C-9BE6-A4E5C0D0DA99}"/>
              </a:ext>
            </a:extLst>
          </p:cNvPr>
          <p:cNvSpPr txBox="1">
            <a:spLocks/>
          </p:cNvSpPr>
          <p:nvPr/>
        </p:nvSpPr>
        <p:spPr>
          <a:xfrm>
            <a:off x="304800" y="3234075"/>
            <a:ext cx="6470691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332" rtl="0" eaLnBrk="1" fontAlgn="base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  <a:defRPr lang="en-US" sz="1780" b="0" kern="1200" cap="none" dirty="0">
                <a:solidFill>
                  <a:srgbClr val="1F497D"/>
                </a:solidFill>
                <a:latin typeface="+mn-lt"/>
                <a:ea typeface="+mj-ea"/>
                <a:cs typeface="+mj-cs"/>
                <a:sym typeface="Proxima Nova" charset="0"/>
              </a:defRPr>
            </a:lvl1pPr>
            <a:lvl2pPr marL="228584" indent="-228584" algn="l" defTabSz="914332" rtl="0" eaLnBrk="1" fontAlgn="base" hangingPunct="1">
              <a:lnSpc>
                <a:spcPct val="90000"/>
              </a:lnSpc>
              <a:spcBef>
                <a:spcPts val="667"/>
              </a:spcBef>
              <a:spcAft>
                <a:spcPts val="267"/>
              </a:spcAft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" panose="020F0502020204030204" pitchFamily="34" charset="0"/>
                <a:sym typeface="Proxima Nova" charset="0"/>
              </a:defRPr>
            </a:lvl2pPr>
            <a:lvl3pPr marL="455591" indent="-225414" algn="l" defTabSz="914332" rtl="0" eaLnBrk="1" fontAlgn="base" hangingPunct="1">
              <a:lnSpc>
                <a:spcPct val="85000"/>
              </a:lnSpc>
              <a:spcBef>
                <a:spcPts val="400"/>
              </a:spcBef>
              <a:spcAft>
                <a:spcPts val="267"/>
              </a:spcAft>
              <a:buClr>
                <a:schemeClr val="tx1">
                  <a:lumMod val="65000"/>
                  <a:lumOff val="35000"/>
                </a:schemeClr>
              </a:buClr>
              <a:buSzPct val="70000"/>
              <a:buFont typeface="Arial" panose="020B0604020202020204" pitchFamily="34" charset="0"/>
              <a:buChar char="̵"/>
              <a:defRPr sz="14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" panose="020F0502020204030204" pitchFamily="34" charset="0"/>
                <a:sym typeface="Proxima Nova" charset="0"/>
              </a:defRPr>
            </a:lvl3pPr>
            <a:lvl4pPr marL="0" indent="0" algn="l" defTabSz="914332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267"/>
              </a:spcAft>
              <a:buClr>
                <a:schemeClr val="tx1">
                  <a:lumMod val="65000"/>
                  <a:lumOff val="35000"/>
                </a:schemeClr>
              </a:buClr>
              <a:buSzPct val="80000"/>
              <a:buFont typeface="Courier New" panose="02070309020205020404" pitchFamily="49" charset="0"/>
              <a:buNone/>
              <a:defRPr sz="2400" b="1" i="0" kern="1200">
                <a:solidFill>
                  <a:schemeClr val="accent1"/>
                </a:solidFill>
                <a:latin typeface="+mn-lt"/>
                <a:ea typeface="+mn-ea"/>
                <a:cs typeface="Calibri" panose="020F0502020204030204" pitchFamily="34" charset="0"/>
                <a:sym typeface="Proxima Nova" charset="0"/>
              </a:defRPr>
            </a:lvl4pPr>
            <a:lvl5pPr marL="0" indent="0" algn="l" defTabSz="914332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267"/>
              </a:spcAft>
              <a:buSzPct val="80000"/>
              <a:buFont typeface="Wingdings" panose="05000000000000000000" pitchFamily="2" charset="2"/>
              <a:buNone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" panose="020F0502020204030204" pitchFamily="34" charset="0"/>
                <a:sym typeface="Proxima Nova" charset="0"/>
              </a:defRPr>
            </a:lvl5pPr>
            <a:lvl6pPr marL="0" indent="0" algn="l" defTabSz="45716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 kern="1200" cap="none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" panose="020F0502020204030204" pitchFamily="34" charset="0"/>
              </a:defRPr>
            </a:lvl6pPr>
            <a:lvl7pPr marL="0" indent="0" algn="l" defTabSz="45716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" panose="020F0502020204030204" pitchFamily="34" charset="0"/>
              </a:defRPr>
            </a:lvl7pPr>
            <a:lvl8pPr marL="0" indent="0" algn="l" defTabSz="45716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" panose="020F0502020204030204" pitchFamily="34" charset="0"/>
              </a:defRPr>
            </a:lvl8pPr>
            <a:lvl9pPr marL="0" indent="0" algn="l" defTabSz="45716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" panose="020F0502020204030204" pitchFamily="34" charset="0"/>
              </a:defRPr>
            </a:lvl9pPr>
          </a:lstStyle>
          <a:p>
            <a:r>
              <a:rPr lang="en-US" sz="2400" dirty="0"/>
              <a:t>What’s in the box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BF807C7-868E-41DA-BA69-52C069E92498}"/>
              </a:ext>
            </a:extLst>
          </p:cNvPr>
          <p:cNvSpPr txBox="1">
            <a:spLocks/>
          </p:cNvSpPr>
          <p:nvPr/>
        </p:nvSpPr>
        <p:spPr>
          <a:xfrm>
            <a:off x="304800" y="4452327"/>
            <a:ext cx="2364057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332" rtl="0" eaLnBrk="1" fontAlgn="base" hangingPunct="1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  <a:defRPr lang="en-US" sz="1780" b="0" kern="1200" cap="none" dirty="0">
                <a:solidFill>
                  <a:srgbClr val="1F497D"/>
                </a:solidFill>
                <a:latin typeface="+mn-lt"/>
                <a:ea typeface="+mj-ea"/>
                <a:cs typeface="+mj-cs"/>
                <a:sym typeface="Proxima Nova" charset="0"/>
              </a:defRPr>
            </a:lvl1pPr>
            <a:lvl2pPr marL="228584" indent="-228584" algn="l" defTabSz="914332" rtl="0" eaLnBrk="1" fontAlgn="base" hangingPunct="1">
              <a:lnSpc>
                <a:spcPct val="90000"/>
              </a:lnSpc>
              <a:spcBef>
                <a:spcPts val="667"/>
              </a:spcBef>
              <a:spcAft>
                <a:spcPts val="267"/>
              </a:spcAft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" panose="020F0502020204030204" pitchFamily="34" charset="0"/>
                <a:sym typeface="Proxima Nova" charset="0"/>
              </a:defRPr>
            </a:lvl2pPr>
            <a:lvl3pPr marL="455591" indent="-225414" algn="l" defTabSz="914332" rtl="0" eaLnBrk="1" fontAlgn="base" hangingPunct="1">
              <a:lnSpc>
                <a:spcPct val="85000"/>
              </a:lnSpc>
              <a:spcBef>
                <a:spcPts val="400"/>
              </a:spcBef>
              <a:spcAft>
                <a:spcPts val="267"/>
              </a:spcAft>
              <a:buClr>
                <a:schemeClr val="tx1">
                  <a:lumMod val="65000"/>
                  <a:lumOff val="35000"/>
                </a:schemeClr>
              </a:buClr>
              <a:buSzPct val="70000"/>
              <a:buFont typeface="Arial" panose="020B0604020202020204" pitchFamily="34" charset="0"/>
              <a:buChar char="̵"/>
              <a:defRPr sz="14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" panose="020F0502020204030204" pitchFamily="34" charset="0"/>
                <a:sym typeface="Proxima Nova" charset="0"/>
              </a:defRPr>
            </a:lvl3pPr>
            <a:lvl4pPr marL="0" indent="0" algn="l" defTabSz="914332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267"/>
              </a:spcAft>
              <a:buClr>
                <a:schemeClr val="tx1">
                  <a:lumMod val="65000"/>
                  <a:lumOff val="35000"/>
                </a:schemeClr>
              </a:buClr>
              <a:buSzPct val="80000"/>
              <a:buFont typeface="Courier New" panose="02070309020205020404" pitchFamily="49" charset="0"/>
              <a:buNone/>
              <a:defRPr sz="2400" b="1" i="0" kern="1200">
                <a:solidFill>
                  <a:schemeClr val="accent1"/>
                </a:solidFill>
                <a:latin typeface="+mn-lt"/>
                <a:ea typeface="+mn-ea"/>
                <a:cs typeface="Calibri" panose="020F0502020204030204" pitchFamily="34" charset="0"/>
                <a:sym typeface="Proxima Nova" charset="0"/>
              </a:defRPr>
            </a:lvl4pPr>
            <a:lvl5pPr marL="0" indent="0" algn="l" defTabSz="914332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267"/>
              </a:spcAft>
              <a:buSzPct val="80000"/>
              <a:buFont typeface="Wingdings" panose="05000000000000000000" pitchFamily="2" charset="2"/>
              <a:buNone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" panose="020F0502020204030204" pitchFamily="34" charset="0"/>
                <a:sym typeface="Proxima Nova" charset="0"/>
              </a:defRPr>
            </a:lvl5pPr>
            <a:lvl6pPr marL="0" indent="0" algn="l" defTabSz="45716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 kern="1200" cap="none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" panose="020F0502020204030204" pitchFamily="34" charset="0"/>
              </a:defRPr>
            </a:lvl6pPr>
            <a:lvl7pPr marL="0" indent="0" algn="l" defTabSz="45716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" panose="020F0502020204030204" pitchFamily="34" charset="0"/>
              </a:defRPr>
            </a:lvl7pPr>
            <a:lvl8pPr marL="0" indent="0" algn="l" defTabSz="45716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" panose="020F0502020204030204" pitchFamily="34" charset="0"/>
              </a:defRPr>
            </a:lvl8pPr>
            <a:lvl9pPr marL="0" indent="0" algn="l" defTabSz="45716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" panose="020F0502020204030204" pitchFamily="34" charset="0"/>
              </a:defRPr>
            </a:lvl9pPr>
          </a:lstStyle>
          <a:p>
            <a:pPr>
              <a:buNone/>
            </a:pPr>
            <a:r>
              <a:rPr lang="en-US" sz="2400" dirty="0"/>
              <a:t>Shipp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5292084-7A6F-46CE-843C-A68B202EE691}"/>
              </a:ext>
            </a:extLst>
          </p:cNvPr>
          <p:cNvSpPr txBox="1"/>
          <p:nvPr/>
        </p:nvSpPr>
        <p:spPr>
          <a:xfrm>
            <a:off x="970161" y="3572931"/>
            <a:ext cx="609432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4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vice</a:t>
            </a:r>
            <a:endParaRPr lang="en-US" sz="14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4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harger</a:t>
            </a:r>
            <a:endParaRPr lang="en-US" sz="14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4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-page QuickStart Guide (</a:t>
            </a:r>
            <a:r>
              <a:rPr lang="en-US" sz="1400" i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e example to the right </a:t>
            </a:r>
            <a:r>
              <a:rPr lang="en-US" sz="14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) </a:t>
            </a:r>
            <a:endParaRPr lang="en-US" sz="14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1A1511-1266-4216-998D-DD00BDB9D9FC}"/>
              </a:ext>
            </a:extLst>
          </p:cNvPr>
          <p:cNvSpPr txBox="1"/>
          <p:nvPr/>
        </p:nvSpPr>
        <p:spPr>
          <a:xfrm>
            <a:off x="922968" y="4819636"/>
            <a:ext cx="609432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4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ew devices: Shipping is included</a:t>
            </a:r>
            <a:endParaRPr lang="en-US" sz="14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4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MA devices: Customer is billed by RapidScale for return shipping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sz="14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Picture 11" descr="Table&#10;&#10;Description automatically generated">
            <a:extLst>
              <a:ext uri="{FF2B5EF4-FFF2-40B4-BE49-F238E27FC236}">
                <a16:creationId xmlns:a16="http://schemas.microsoft.com/office/drawing/2014/main" id="{0229C9E4-6D12-44D3-86D3-5EBCCEC3BC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9093" y="906572"/>
            <a:ext cx="4099264" cy="5044855"/>
          </a:xfrm>
          <a:prstGeom prst="rect">
            <a:avLst/>
          </a:prstGeom>
          <a:ln w="19050">
            <a:solidFill>
              <a:srgbClr val="00B0F0"/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008C937-2221-4751-AA2B-CFE63D8ADDB3}"/>
              </a:ext>
            </a:extLst>
          </p:cNvPr>
          <p:cNvSpPr txBox="1"/>
          <p:nvPr/>
        </p:nvSpPr>
        <p:spPr>
          <a:xfrm>
            <a:off x="970161" y="2763901"/>
            <a:ext cx="60943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4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rk </a:t>
            </a:r>
            <a:r>
              <a:rPr lang="en-US" sz="1400" i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Installed)</a:t>
            </a:r>
            <a:r>
              <a:rPr lang="en-US" sz="14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s part of setup</a:t>
            </a:r>
            <a:endParaRPr lang="en-US" sz="14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68698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59" name="Group 2058">
            <a:extLst>
              <a:ext uri="{FF2B5EF4-FFF2-40B4-BE49-F238E27FC236}">
                <a16:creationId xmlns:a16="http://schemas.microsoft.com/office/drawing/2014/main" id="{1212B27F-E6A7-4856-BDA6-E141AD830BDE}"/>
              </a:ext>
            </a:extLst>
          </p:cNvPr>
          <p:cNvGrpSpPr/>
          <p:nvPr/>
        </p:nvGrpSpPr>
        <p:grpSpPr>
          <a:xfrm>
            <a:off x="2437939" y="404584"/>
            <a:ext cx="7316121" cy="2438115"/>
            <a:chOff x="2437939" y="404584"/>
            <a:chExt cx="7316121" cy="243811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05A60BA-01C4-462D-B95E-57F2E9CAEF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68660" y="404584"/>
              <a:ext cx="2464416" cy="1387467"/>
            </a:xfrm>
            <a:prstGeom prst="rect">
              <a:avLst/>
            </a:prstGeom>
          </p:spPr>
        </p:pic>
        <p:sp>
          <p:nvSpPr>
            <p:cNvPr id="6" name="Text Placeholder 2">
              <a:extLst>
                <a:ext uri="{FF2B5EF4-FFF2-40B4-BE49-F238E27FC236}">
                  <a16:creationId xmlns:a16="http://schemas.microsoft.com/office/drawing/2014/main" id="{2D48DB4A-41E9-406F-958F-A725D5A1C788}"/>
                </a:ext>
              </a:extLst>
            </p:cNvPr>
            <p:cNvSpPr txBox="1">
              <a:spLocks/>
            </p:cNvSpPr>
            <p:nvPr/>
          </p:nvSpPr>
          <p:spPr>
            <a:xfrm>
              <a:off x="2437939" y="1721450"/>
              <a:ext cx="7316121" cy="1121249"/>
            </a:xfrm>
            <a:prstGeom prst="rect">
              <a:avLst/>
            </a:prstGeom>
          </p:spPr>
          <p:txBody>
            <a:bodyPr/>
            <a:lstStyle>
              <a:lvl1pPr marL="0" indent="0" algn="l" defTabSz="914377" rtl="0" eaLnBrk="0" fontAlgn="base" hangingPunct="0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​"/>
                <a:defRPr lang="en-US" sz="2000" b="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+mn-ea"/>
                  <a:cs typeface="Calibri Light" panose="020F0302020204030204" pitchFamily="34" charset="0"/>
                  <a:sym typeface="Proxima Nova" charset="0"/>
                </a:defRPr>
              </a:lvl1pPr>
              <a:lvl2pPr marL="228594" indent="-228594" algn="l" defTabSz="914377" rtl="0" eaLnBrk="0" fontAlgn="base" hangingPunct="0">
                <a:lnSpc>
                  <a:spcPct val="90000"/>
                </a:lnSpc>
                <a:spcBef>
                  <a:spcPts val="667"/>
                </a:spcBef>
                <a:spcAft>
                  <a:spcPts val="267"/>
                </a:spcAft>
                <a:buSzPct val="100000"/>
                <a:buFont typeface="Arial" panose="020B0604020202020204" pitchFamily="34" charset="0"/>
                <a:buChar char="•"/>
                <a:defRPr sz="16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Proxima Nova" charset="0"/>
                </a:defRPr>
              </a:lvl2pPr>
              <a:lvl3pPr marL="455613" indent="-225425" algn="l" defTabSz="914377" rtl="0" eaLnBrk="0" fontAlgn="base" hangingPunct="0">
                <a:lnSpc>
                  <a:spcPct val="85000"/>
                </a:lnSpc>
                <a:spcBef>
                  <a:spcPts val="400"/>
                </a:spcBef>
                <a:spcAft>
                  <a:spcPts val="267"/>
                </a:spcAft>
                <a:buClr>
                  <a:schemeClr val="tx1">
                    <a:lumMod val="65000"/>
                    <a:lumOff val="35000"/>
                  </a:schemeClr>
                </a:buClr>
                <a:buSzPct val="70000"/>
                <a:buFont typeface="Arial" panose="020B0604020202020204" pitchFamily="34" charset="0"/>
                <a:buChar char="̵"/>
                <a:defRPr sz="14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Proxima Nova" charset="0"/>
                </a:defRPr>
              </a:lvl3pPr>
              <a:lvl4pPr marL="0" indent="0" algn="l" defTabSz="914377" rtl="0" eaLnBrk="0" fontAlgn="base" hangingPunct="0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>
                  <a:schemeClr val="tx1">
                    <a:lumMod val="65000"/>
                    <a:lumOff val="35000"/>
                  </a:schemeClr>
                </a:buClr>
                <a:buSzPct val="80000"/>
                <a:buFont typeface="Segoe UI" panose="020B0502040204020203" pitchFamily="34" charset="0"/>
                <a:buChar char="​"/>
                <a:defRPr sz="2400" b="1" i="0" kern="1200">
                  <a:solidFill>
                    <a:schemeClr val="accent1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Proxima Nova" charset="0"/>
                </a:defRPr>
              </a:lvl4pPr>
              <a:lvl5pPr marL="0" indent="0" algn="l" defTabSz="914377" rtl="0" eaLnBrk="0" fontAlgn="base" hangingPunct="0">
                <a:lnSpc>
                  <a:spcPct val="85000"/>
                </a:lnSpc>
                <a:spcBef>
                  <a:spcPts val="1200"/>
                </a:spcBef>
                <a:spcAft>
                  <a:spcPts val="0"/>
                </a:spcAft>
                <a:buSzPct val="80000"/>
                <a:buFont typeface="Segoe UI" panose="020B0502040204020203" pitchFamily="34" charset="0"/>
                <a:buChar char="​"/>
                <a:defRPr sz="20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Proxima Nova" charset="0"/>
                </a:defRPr>
              </a:lvl5pPr>
              <a:lvl6pPr marL="0" indent="0" algn="l" defTabSz="457189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2000" b="0" kern="1200" cap="none" spc="0" baseline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Calibri" panose="020F0502020204030204" pitchFamily="34" charset="0"/>
                </a:defRPr>
              </a:lvl6pPr>
              <a:lvl7pPr marL="0" indent="0" algn="l" defTabSz="457189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200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lvl7pPr>
              <a:lvl8pPr marL="0" indent="0" algn="l" defTabSz="457189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200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lvl8pPr>
              <a:lvl9pPr marL="0" indent="0" algn="l" defTabSz="457189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200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2000" b="1">
                  <a:latin typeface="Avenir Next LT Pro" panose="020B0504020202020204" pitchFamily="34" charset="0"/>
                </a:rPr>
                <a:t>Privately Held &amp; Family-Owned</a:t>
              </a:r>
            </a:p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>
                  <a:latin typeface="Avenir Next LT Pro" panose="020B0504020202020204" pitchFamily="34" charset="0"/>
                </a:rPr>
                <a:t>Founded in 1898 by Ohio Governor James M Cox</a:t>
              </a:r>
            </a:p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>
                  <a:latin typeface="Avenir Next LT Pro" panose="020B0504020202020204" pitchFamily="34" charset="0"/>
                </a:rPr>
                <a:t>120+ Years (4 Generations) of Innovation &amp; Technology Leadership</a:t>
              </a:r>
            </a:p>
            <a:p>
              <a:pPr>
                <a:buNone/>
              </a:pPr>
              <a:endParaRPr lang="en-US"/>
            </a:p>
            <a:p>
              <a:endParaRPr lang="en-US"/>
            </a:p>
          </p:txBody>
        </p:sp>
      </p:grpSp>
      <p:grpSp>
        <p:nvGrpSpPr>
          <p:cNvPr id="2058" name="Group 2057">
            <a:extLst>
              <a:ext uri="{FF2B5EF4-FFF2-40B4-BE49-F238E27FC236}">
                <a16:creationId xmlns:a16="http://schemas.microsoft.com/office/drawing/2014/main" id="{64A12A99-D9B8-4630-B06A-0948BC371161}"/>
              </a:ext>
            </a:extLst>
          </p:cNvPr>
          <p:cNvGrpSpPr/>
          <p:nvPr/>
        </p:nvGrpSpPr>
        <p:grpSpPr>
          <a:xfrm>
            <a:off x="3867557" y="2700541"/>
            <a:ext cx="3581238" cy="3578980"/>
            <a:chOff x="353942" y="2583523"/>
            <a:chExt cx="3581238" cy="3578980"/>
          </a:xfrm>
        </p:grpSpPr>
        <p:pic>
          <p:nvPicPr>
            <p:cNvPr id="14" name="Picture 6" descr="Image result for manheim logo clear background">
              <a:extLst>
                <a:ext uri="{FF2B5EF4-FFF2-40B4-BE49-F238E27FC236}">
                  <a16:creationId xmlns:a16="http://schemas.microsoft.com/office/drawing/2014/main" id="{65BBBD89-EAD0-46B3-859E-5DE75F8624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2195" y="5247343"/>
              <a:ext cx="922985" cy="5332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4B3D29DE-D47F-458D-A551-B92D8C156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2622" y="2583523"/>
              <a:ext cx="2649744" cy="1746090"/>
            </a:xfrm>
            <a:prstGeom prst="rect">
              <a:avLst/>
            </a:prstGeom>
          </p:spPr>
        </p:pic>
        <p:sp>
          <p:nvSpPr>
            <p:cNvPr id="11" name="Content Placeholder 2">
              <a:extLst>
                <a:ext uri="{FF2B5EF4-FFF2-40B4-BE49-F238E27FC236}">
                  <a16:creationId xmlns:a16="http://schemas.microsoft.com/office/drawing/2014/main" id="{2F0715A9-6DB9-45C0-8514-E9576725E197}"/>
                </a:ext>
              </a:extLst>
            </p:cNvPr>
            <p:cNvSpPr txBox="1">
              <a:spLocks/>
            </p:cNvSpPr>
            <p:nvPr/>
          </p:nvSpPr>
          <p:spPr>
            <a:xfrm>
              <a:off x="353942" y="3023536"/>
              <a:ext cx="3574473" cy="1823162"/>
            </a:xfrm>
            <a:prstGeom prst="rect">
              <a:avLst/>
            </a:prstGeom>
          </p:spPr>
          <p:txBody>
            <a:bodyPr/>
            <a:lstStyle>
              <a:lvl1pPr marL="0" indent="0" algn="l" defTabSz="914377" rtl="0" eaLnBrk="1" fontAlgn="base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​"/>
                <a:defRPr lang="en-US" sz="2000" b="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 Light" panose="020F0302020204030204" pitchFamily="34" charset="0"/>
                  <a:ea typeface="+mn-ea"/>
                  <a:cs typeface="Calibri Light" panose="020F0302020204030204" pitchFamily="34" charset="0"/>
                  <a:sym typeface="Proxima Nova" charset="0"/>
                </a:defRPr>
              </a:lvl1pPr>
              <a:lvl2pPr marL="228594" indent="-228594" algn="l" defTabSz="914377" rtl="0" eaLnBrk="1" fontAlgn="base" hangingPunct="1">
                <a:lnSpc>
                  <a:spcPct val="90000"/>
                </a:lnSpc>
                <a:spcBef>
                  <a:spcPts val="667"/>
                </a:spcBef>
                <a:spcAft>
                  <a:spcPts val="267"/>
                </a:spcAft>
                <a:buSzPct val="100000"/>
                <a:buFont typeface="Arial" panose="020B0604020202020204" pitchFamily="34" charset="0"/>
                <a:buChar char="•"/>
                <a:defRPr sz="16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Proxima Nova" charset="0"/>
                </a:defRPr>
              </a:lvl2pPr>
              <a:lvl3pPr marL="455613" indent="-225425" algn="l" defTabSz="914377" rtl="0" eaLnBrk="1" fontAlgn="base" hangingPunct="1">
                <a:lnSpc>
                  <a:spcPct val="85000"/>
                </a:lnSpc>
                <a:spcBef>
                  <a:spcPts val="400"/>
                </a:spcBef>
                <a:spcAft>
                  <a:spcPts val="267"/>
                </a:spcAft>
                <a:buClr>
                  <a:schemeClr val="tx1">
                    <a:lumMod val="65000"/>
                    <a:lumOff val="35000"/>
                  </a:schemeClr>
                </a:buClr>
                <a:buSzPct val="70000"/>
                <a:buFont typeface="Arial" panose="020B0604020202020204" pitchFamily="34" charset="0"/>
                <a:buChar char="̵"/>
                <a:defRPr sz="14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Proxima Nova" charset="0"/>
                </a:defRPr>
              </a:lvl3pPr>
              <a:lvl4pPr marL="0" indent="0" algn="l" defTabSz="914377" rtl="0" eaLnBrk="1" fontAlgn="base" hangingPunct="1">
                <a:lnSpc>
                  <a:spcPct val="90000"/>
                </a:lnSpc>
                <a:spcBef>
                  <a:spcPts val="1200"/>
                </a:spcBef>
                <a:spcAft>
                  <a:spcPts val="267"/>
                </a:spcAft>
                <a:buClr>
                  <a:schemeClr val="tx1">
                    <a:lumMod val="65000"/>
                    <a:lumOff val="35000"/>
                  </a:schemeClr>
                </a:buClr>
                <a:buSzPct val="80000"/>
                <a:buFont typeface="Courier New" panose="02070309020205020404" pitchFamily="49" charset="0"/>
                <a:buNone/>
                <a:defRPr sz="2400" b="1" i="0" kern="1200">
                  <a:solidFill>
                    <a:schemeClr val="accent1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Proxima Nova" charset="0"/>
                </a:defRPr>
              </a:lvl4pPr>
              <a:lvl5pPr marL="0" indent="0" algn="l" defTabSz="914377" rtl="0" eaLnBrk="1" fontAlgn="base" hangingPunct="1">
                <a:lnSpc>
                  <a:spcPct val="90000"/>
                </a:lnSpc>
                <a:spcBef>
                  <a:spcPts val="1200"/>
                </a:spcBef>
                <a:spcAft>
                  <a:spcPts val="267"/>
                </a:spcAft>
                <a:buSzPct val="80000"/>
                <a:buFont typeface="Wingdings" panose="05000000000000000000" pitchFamily="2" charset="2"/>
                <a:buNone/>
                <a:defRPr sz="20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Proxima Nova" charset="0"/>
                </a:defRPr>
              </a:lvl5pPr>
              <a:lvl6pPr marL="0" indent="0" algn="l" defTabSz="457189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2000" b="0" kern="1200" cap="none" spc="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lvl6pPr>
              <a:lvl7pPr marL="0" indent="0" algn="l" defTabSz="457189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20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lvl7pPr>
              <a:lvl8pPr marL="0" indent="0" algn="l" defTabSz="457189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2000" kern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lvl8pPr>
              <a:lvl9pPr marL="0" indent="0" algn="l" defTabSz="457189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20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lvl9pPr>
            </a:lstStyle>
            <a:p>
              <a:endParaRPr lang="en-US" b="1"/>
            </a:p>
            <a:p>
              <a:endParaRPr lang="en-US" b="1"/>
            </a:p>
            <a:p>
              <a:pPr algn="ctr"/>
              <a:r>
                <a:rPr lang="en-US" b="1">
                  <a:latin typeface="Avenir Next LT Pro" panose="020B0504020202020204" pitchFamily="34" charset="0"/>
                </a:rPr>
                <a:t>$7B Annual Revenue</a:t>
              </a:r>
            </a:p>
            <a:p>
              <a:pPr marL="0" lvl="1" indent="0" algn="ctr">
                <a:buFont typeface="Arial" panose="020B0604020202020204" pitchFamily="34" charset="0"/>
                <a:buNone/>
              </a:pPr>
              <a:r>
                <a:rPr lang="en-US">
                  <a:latin typeface="Avenir Next LT Pro" panose="020B0504020202020204" pitchFamily="34" charset="0"/>
                </a:rPr>
                <a:t>World leader in vehicle remarketing services and software for automotive dealers and global consumers</a:t>
              </a:r>
            </a:p>
          </p:txBody>
        </p:sp>
        <p:pic>
          <p:nvPicPr>
            <p:cNvPr id="12" name="Picture 2" descr="Image result for kelly blue book logo clear background">
              <a:extLst>
                <a:ext uri="{FF2B5EF4-FFF2-40B4-BE49-F238E27FC236}">
                  <a16:creationId xmlns:a16="http://schemas.microsoft.com/office/drawing/2014/main" id="{BECDFE13-3D92-4D9E-81A6-EBD1294485C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1604" y="5151762"/>
              <a:ext cx="582617" cy="7874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4" descr="Image result for autotrader logo clear background">
              <a:extLst>
                <a:ext uri="{FF2B5EF4-FFF2-40B4-BE49-F238E27FC236}">
                  <a16:creationId xmlns:a16="http://schemas.microsoft.com/office/drawing/2014/main" id="{BC6411AD-307F-4E4D-9E2F-A579DAA5AF9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clrChange>
                <a:clrFrom>
                  <a:srgbClr val="F6F6F6"/>
                </a:clrFrom>
                <a:clrTo>
                  <a:srgbClr val="F6F6F6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48533" y="5053778"/>
              <a:ext cx="1538714" cy="4556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10" descr="Image result for dealertrack clear background">
              <a:extLst>
                <a:ext uri="{FF2B5EF4-FFF2-40B4-BE49-F238E27FC236}">
                  <a16:creationId xmlns:a16="http://schemas.microsoft.com/office/drawing/2014/main" id="{BE22863F-7241-4767-ACA1-49A6F1B3A2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11920" y="5292917"/>
              <a:ext cx="1395057" cy="8695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57" name="Group 2056">
            <a:extLst>
              <a:ext uri="{FF2B5EF4-FFF2-40B4-BE49-F238E27FC236}">
                <a16:creationId xmlns:a16="http://schemas.microsoft.com/office/drawing/2014/main" id="{1E2B1974-852B-4355-831B-250C7E5CFE84}"/>
              </a:ext>
            </a:extLst>
          </p:cNvPr>
          <p:cNvGrpSpPr/>
          <p:nvPr/>
        </p:nvGrpSpPr>
        <p:grpSpPr>
          <a:xfrm>
            <a:off x="329151" y="3048313"/>
            <a:ext cx="3411138" cy="2997430"/>
            <a:chOff x="4356627" y="3002342"/>
            <a:chExt cx="3411138" cy="2997430"/>
          </a:xfrm>
        </p:grpSpPr>
        <p:sp>
          <p:nvSpPr>
            <p:cNvPr id="5" name="Text Placeholder 11">
              <a:extLst>
                <a:ext uri="{FF2B5EF4-FFF2-40B4-BE49-F238E27FC236}">
                  <a16:creationId xmlns:a16="http://schemas.microsoft.com/office/drawing/2014/main" id="{5A00321A-9EEE-4DDF-ADB0-4F67D5748B2F}"/>
                </a:ext>
              </a:extLst>
            </p:cNvPr>
            <p:cNvSpPr txBox="1">
              <a:spLocks/>
            </p:cNvSpPr>
            <p:nvPr/>
          </p:nvSpPr>
          <p:spPr>
            <a:xfrm>
              <a:off x="4356627" y="3944043"/>
              <a:ext cx="3411138" cy="1716958"/>
            </a:xfrm>
            <a:prstGeom prst="rect">
              <a:avLst/>
            </a:prstGeom>
          </p:spPr>
          <p:txBody>
            <a:bodyPr/>
            <a:lstStyle>
              <a:lvl1pPr marL="0" indent="0" algn="l" defTabSz="914377" rtl="0" eaLnBrk="1" fontAlgn="base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​"/>
                <a:defRPr lang="en-US" sz="2000" b="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 Light" panose="020F0302020204030204" pitchFamily="34" charset="0"/>
                  <a:ea typeface="+mn-ea"/>
                  <a:cs typeface="Calibri Light" panose="020F0302020204030204" pitchFamily="34" charset="0"/>
                  <a:sym typeface="Proxima Nova" charset="0"/>
                </a:defRPr>
              </a:lvl1pPr>
              <a:lvl2pPr marL="228594" indent="-228594" algn="l" defTabSz="914377" rtl="0" eaLnBrk="1" fontAlgn="base" hangingPunct="1">
                <a:lnSpc>
                  <a:spcPct val="90000"/>
                </a:lnSpc>
                <a:spcBef>
                  <a:spcPts val="667"/>
                </a:spcBef>
                <a:spcAft>
                  <a:spcPts val="267"/>
                </a:spcAft>
                <a:buSzPct val="100000"/>
                <a:buFont typeface="Arial" panose="020B0604020202020204" pitchFamily="34" charset="0"/>
                <a:buChar char="•"/>
                <a:defRPr sz="16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Proxima Nova" charset="0"/>
                </a:defRPr>
              </a:lvl2pPr>
              <a:lvl3pPr marL="455613" indent="-225425" algn="l" defTabSz="914377" rtl="0" eaLnBrk="1" fontAlgn="base" hangingPunct="1">
                <a:lnSpc>
                  <a:spcPct val="85000"/>
                </a:lnSpc>
                <a:spcBef>
                  <a:spcPts val="400"/>
                </a:spcBef>
                <a:spcAft>
                  <a:spcPts val="267"/>
                </a:spcAft>
                <a:buClr>
                  <a:schemeClr val="tx1">
                    <a:lumMod val="65000"/>
                    <a:lumOff val="35000"/>
                  </a:schemeClr>
                </a:buClr>
                <a:buSzPct val="70000"/>
                <a:buFont typeface="Arial" panose="020B0604020202020204" pitchFamily="34" charset="0"/>
                <a:buChar char="̵"/>
                <a:defRPr sz="14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Proxima Nova" charset="0"/>
                </a:defRPr>
              </a:lvl3pPr>
              <a:lvl4pPr marL="0" indent="0" algn="l" defTabSz="914377" rtl="0" eaLnBrk="1" fontAlgn="base" hangingPunct="1">
                <a:lnSpc>
                  <a:spcPct val="90000"/>
                </a:lnSpc>
                <a:spcBef>
                  <a:spcPts val="1200"/>
                </a:spcBef>
                <a:spcAft>
                  <a:spcPts val="267"/>
                </a:spcAft>
                <a:buClr>
                  <a:schemeClr val="tx1">
                    <a:lumMod val="65000"/>
                    <a:lumOff val="35000"/>
                  </a:schemeClr>
                </a:buClr>
                <a:buSzPct val="80000"/>
                <a:buFont typeface="Courier New" panose="02070309020205020404" pitchFamily="49" charset="0"/>
                <a:buNone/>
                <a:defRPr sz="2400" b="1" i="0" kern="1200">
                  <a:solidFill>
                    <a:schemeClr val="accent1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Proxima Nova" charset="0"/>
                </a:defRPr>
              </a:lvl4pPr>
              <a:lvl5pPr marL="0" indent="0" algn="l" defTabSz="914377" rtl="0" eaLnBrk="1" fontAlgn="base" hangingPunct="1">
                <a:lnSpc>
                  <a:spcPct val="90000"/>
                </a:lnSpc>
                <a:spcBef>
                  <a:spcPts val="1200"/>
                </a:spcBef>
                <a:spcAft>
                  <a:spcPts val="267"/>
                </a:spcAft>
                <a:buSzPct val="80000"/>
                <a:buFont typeface="Wingdings" panose="05000000000000000000" pitchFamily="2" charset="2"/>
                <a:buNone/>
                <a:defRPr sz="20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Proxima Nova" charset="0"/>
                </a:defRPr>
              </a:lvl5pPr>
              <a:lvl6pPr marL="0" indent="0" algn="l" defTabSz="457189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2000" b="0" kern="1200" cap="none" spc="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lvl6pPr>
              <a:lvl7pPr marL="0" indent="0" algn="l" defTabSz="457189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20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lvl7pPr>
              <a:lvl8pPr marL="0" indent="0" algn="l" defTabSz="457189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2000" kern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lvl8pPr>
              <a:lvl9pPr marL="0" indent="0" algn="l" defTabSz="457189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20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lvl9pPr>
            </a:lstStyle>
            <a:p>
              <a:pPr algn="ctr"/>
              <a:r>
                <a:rPr lang="en-US" b="1">
                  <a:latin typeface="Avenir Next LT Pro" panose="020B0504020202020204" pitchFamily="34" charset="0"/>
                </a:rPr>
                <a:t>$12B Annual Revenue</a:t>
              </a:r>
            </a:p>
            <a:p>
              <a:pPr marL="0" lvl="1" indent="0" algn="ctr">
                <a:buFont typeface="Arial" panose="020B0604020202020204" pitchFamily="34" charset="0"/>
                <a:buNone/>
              </a:pPr>
              <a:r>
                <a:rPr lang="en-US">
                  <a:latin typeface="Avenir Next LT Pro" panose="020B0504020202020204" pitchFamily="34" charset="0"/>
                </a:rPr>
                <a:t>Largest privately held telecom company in the U.S.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DB4DB49-6E7C-450B-A973-062181FF960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24556" y="3002342"/>
              <a:ext cx="2215390" cy="742156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FBAA4068-E790-4F06-AA1A-77020A27AE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84704" y="5222809"/>
              <a:ext cx="1224000" cy="744192"/>
            </a:xfrm>
            <a:prstGeom prst="rect">
              <a:avLst/>
            </a:prstGeom>
          </p:spPr>
        </p:pic>
        <p:pic>
          <p:nvPicPr>
            <p:cNvPr id="24" name="Picture 2" descr="Image result for cox media logo">
              <a:extLst>
                <a:ext uri="{FF2B5EF4-FFF2-40B4-BE49-F238E27FC236}">
                  <a16:creationId xmlns:a16="http://schemas.microsoft.com/office/drawing/2014/main" id="{355E7AA0-6DDE-4981-8445-916E1663A7A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8167" b="20866"/>
            <a:stretch/>
          </p:blipFill>
          <p:spPr bwMode="auto">
            <a:xfrm>
              <a:off x="6181403" y="5182912"/>
              <a:ext cx="1339847" cy="8168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ABCBEA5-771F-4692-B954-2ECDC319887A}"/>
              </a:ext>
            </a:extLst>
          </p:cNvPr>
          <p:cNvSpPr txBox="1">
            <a:spLocks/>
          </p:cNvSpPr>
          <p:nvPr/>
        </p:nvSpPr>
        <p:spPr>
          <a:xfrm>
            <a:off x="8038037" y="3398789"/>
            <a:ext cx="3501971" cy="2770172"/>
          </a:xfrm>
          <a:prstGeom prst="rect">
            <a:avLst/>
          </a:prstGeom>
        </p:spPr>
        <p:txBody>
          <a:bodyPr/>
          <a:lstStyle>
            <a:lvl1pPr marL="0" indent="0" algn="l" defTabSz="914377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​"/>
              <a:defRPr lang="en-US" sz="20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  <a:sym typeface="Proxima Nova" charset="0"/>
              </a:defRPr>
            </a:lvl1pPr>
            <a:lvl2pPr marL="228594" indent="-228594" algn="l" defTabSz="914377" rtl="0" eaLnBrk="1" fontAlgn="base" hangingPunct="1">
              <a:lnSpc>
                <a:spcPct val="90000"/>
              </a:lnSpc>
              <a:spcBef>
                <a:spcPts val="667"/>
              </a:spcBef>
              <a:spcAft>
                <a:spcPts val="267"/>
              </a:spcAft>
              <a:buSzPct val="100000"/>
              <a:buFont typeface="Arial" panose="020B0604020202020204" pitchFamily="34" charset="0"/>
              <a:buChar char="•"/>
              <a:defRPr sz="16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Proxima Nova" charset="0"/>
              </a:defRPr>
            </a:lvl2pPr>
            <a:lvl3pPr marL="455613" indent="-225425" algn="l" defTabSz="914377" rtl="0" eaLnBrk="1" fontAlgn="base" hangingPunct="1">
              <a:lnSpc>
                <a:spcPct val="85000"/>
              </a:lnSpc>
              <a:spcBef>
                <a:spcPts val="400"/>
              </a:spcBef>
              <a:spcAft>
                <a:spcPts val="267"/>
              </a:spcAft>
              <a:buClr>
                <a:schemeClr val="tx1">
                  <a:lumMod val="65000"/>
                  <a:lumOff val="35000"/>
                </a:schemeClr>
              </a:buClr>
              <a:buSzPct val="70000"/>
              <a:buFont typeface="Arial" panose="020B0604020202020204" pitchFamily="34" charset="0"/>
              <a:buChar char="̵"/>
              <a:defRPr sz="14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Proxima Nova" charset="0"/>
              </a:defRPr>
            </a:lvl3pPr>
            <a:lvl4pPr marL="0" indent="0" algn="l" defTabSz="914377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267"/>
              </a:spcAft>
              <a:buClr>
                <a:schemeClr val="tx1">
                  <a:lumMod val="65000"/>
                  <a:lumOff val="35000"/>
                </a:schemeClr>
              </a:buClr>
              <a:buSzPct val="80000"/>
              <a:buFont typeface="Courier New" panose="02070309020205020404" pitchFamily="49" charset="0"/>
              <a:buNone/>
              <a:defRPr sz="2400" b="1" i="0" kern="120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Proxima Nova" charset="0"/>
              </a:defRPr>
            </a:lvl4pPr>
            <a:lvl5pPr marL="0" indent="0" algn="l" defTabSz="914377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ts val="267"/>
              </a:spcAft>
              <a:buSzPct val="80000"/>
              <a:buFont typeface="Wingdings" panose="05000000000000000000" pitchFamily="2" charset="2"/>
              <a:buNone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Proxima Nova" charset="0"/>
              </a:defRPr>
            </a:lvl5pPr>
            <a:lvl6pPr marL="0" indent="0" algn="l" defTabSz="457189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 kern="1200" cap="none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6pPr>
            <a:lvl7pPr marL="0" indent="0" algn="l" defTabSz="457189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7pPr>
            <a:lvl8pPr marL="0" indent="0" algn="l" defTabSz="457189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8pPr>
            <a:lvl9pPr marL="0" indent="0" algn="l" defTabSz="457189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9pPr>
          </a:lstStyle>
          <a:p>
            <a:endParaRPr lang="en-US" b="1"/>
          </a:p>
          <a:p>
            <a:pPr marL="0" lvl="1" indent="0" algn="ctr">
              <a:buFont typeface="Arial" panose="020B0604020202020204" pitchFamily="34" charset="0"/>
              <a:buNone/>
            </a:pPr>
            <a:r>
              <a:rPr lang="en-US">
                <a:latin typeface="Avenir Next LT Pro" panose="020B0504020202020204" pitchFamily="34" charset="0"/>
              </a:rPr>
              <a:t> 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FC6464A-4CED-4A68-A269-8D46E5DF4682}"/>
              </a:ext>
            </a:extLst>
          </p:cNvPr>
          <p:cNvGrpSpPr/>
          <p:nvPr/>
        </p:nvGrpSpPr>
        <p:grpSpPr>
          <a:xfrm>
            <a:off x="7774661" y="3093163"/>
            <a:ext cx="4143698" cy="3491746"/>
            <a:chOff x="7730685" y="2982697"/>
            <a:chExt cx="4301954" cy="3570241"/>
          </a:xfrm>
        </p:grpSpPr>
        <p:pic>
          <p:nvPicPr>
            <p:cNvPr id="2052" name="Picture 2051" descr="A picture containing drawing, bird&#10;&#10;Description automatically generated">
              <a:extLst>
                <a:ext uri="{FF2B5EF4-FFF2-40B4-BE49-F238E27FC236}">
                  <a16:creationId xmlns:a16="http://schemas.microsoft.com/office/drawing/2014/main" id="{00062951-5A2E-4904-983F-F00AAF5166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382269" y="4288118"/>
              <a:ext cx="1117843" cy="487831"/>
            </a:xfrm>
            <a:prstGeom prst="rect">
              <a:avLst/>
            </a:prstGeom>
          </p:spPr>
        </p:pic>
        <p:pic>
          <p:nvPicPr>
            <p:cNvPr id="22" name="Picture 21" descr="A close up of a sign&#10;&#10;Description automatically generated">
              <a:extLst>
                <a:ext uri="{FF2B5EF4-FFF2-40B4-BE49-F238E27FC236}">
                  <a16:creationId xmlns:a16="http://schemas.microsoft.com/office/drawing/2014/main" id="{A03A6C8F-C8D5-4EAD-8EBF-AAB62D4740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842544" y="4359933"/>
              <a:ext cx="688622" cy="907360"/>
            </a:xfrm>
            <a:prstGeom prst="rect">
              <a:avLst/>
            </a:prstGeom>
          </p:spPr>
        </p:pic>
        <p:pic>
          <p:nvPicPr>
            <p:cNvPr id="27" name="Picture 26" descr="A picture containing drawing, sign&#10;&#10;Description automatically generated">
              <a:extLst>
                <a:ext uri="{FF2B5EF4-FFF2-40B4-BE49-F238E27FC236}">
                  <a16:creationId xmlns:a16="http://schemas.microsoft.com/office/drawing/2014/main" id="{697EA24E-45D4-407A-B342-DFE5BEE8C7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887343" y="4437103"/>
              <a:ext cx="1240390" cy="346963"/>
            </a:xfrm>
            <a:prstGeom prst="rect">
              <a:avLst/>
            </a:prstGeom>
          </p:spPr>
        </p:pic>
        <p:pic>
          <p:nvPicPr>
            <p:cNvPr id="2054" name="Picture 2053" descr="A drawing of a face&#10;&#10;Description automatically generated">
              <a:extLst>
                <a:ext uri="{FF2B5EF4-FFF2-40B4-BE49-F238E27FC236}">
                  <a16:creationId xmlns:a16="http://schemas.microsoft.com/office/drawing/2014/main" id="{560FAC95-183D-42BF-8BE4-B4E2D4ADD8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8020433" y="4890209"/>
              <a:ext cx="952908" cy="609861"/>
            </a:xfrm>
            <a:prstGeom prst="rect">
              <a:avLst/>
            </a:prstGeom>
          </p:spPr>
        </p:pic>
        <p:sp>
          <p:nvSpPr>
            <p:cNvPr id="2055" name="TextBox 2054">
              <a:extLst>
                <a:ext uri="{FF2B5EF4-FFF2-40B4-BE49-F238E27FC236}">
                  <a16:creationId xmlns:a16="http://schemas.microsoft.com/office/drawing/2014/main" id="{32740C2E-F455-4D38-8581-493C7CCA0307}"/>
                </a:ext>
              </a:extLst>
            </p:cNvPr>
            <p:cNvSpPr txBox="1"/>
            <p:nvPr/>
          </p:nvSpPr>
          <p:spPr>
            <a:xfrm>
              <a:off x="7730685" y="3892478"/>
              <a:ext cx="4301954" cy="40910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venir Next LT Pro" panose="020B0504020202020204" pitchFamily="34" charset="0"/>
                </a:rPr>
                <a:t>Cleantech | Healthcare | Esports </a:t>
              </a: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250EE9CB-45D1-41FD-8DC6-F94FB3546E05}"/>
                </a:ext>
              </a:extLst>
            </p:cNvPr>
            <p:cNvGrpSpPr/>
            <p:nvPr/>
          </p:nvGrpSpPr>
          <p:grpSpPr>
            <a:xfrm>
              <a:off x="8296787" y="2982697"/>
              <a:ext cx="3177372" cy="761801"/>
              <a:chOff x="8296787" y="457936"/>
              <a:chExt cx="3177372" cy="761801"/>
            </a:xfrm>
          </p:grpSpPr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CF1EF731-64D8-44D5-ABBC-01651D9F0E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296787" y="457936"/>
                <a:ext cx="1353109" cy="761801"/>
              </a:xfrm>
              <a:prstGeom prst="rect">
                <a:avLst/>
              </a:prstGeom>
            </p:spPr>
          </p:pic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B8FE5536-D204-4C21-9042-3B92600BAA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713268" y="573150"/>
                <a:ext cx="0" cy="540426"/>
              </a:xfrm>
              <a:prstGeom prst="line">
                <a:avLst/>
              </a:prstGeom>
              <a:ln w="19050">
                <a:solidFill>
                  <a:srgbClr val="00558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69E4E243-45E0-47BC-B9F4-0AA74FFC32AC}"/>
                  </a:ext>
                </a:extLst>
              </p:cNvPr>
              <p:cNvSpPr/>
              <p:nvPr/>
            </p:nvSpPr>
            <p:spPr>
              <a:xfrm>
                <a:off x="9809921" y="555962"/>
                <a:ext cx="1664238" cy="65659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ts val="2200"/>
                  </a:lnSpc>
                </a:pPr>
                <a:r>
                  <a:rPr lang="en-US" sz="2400" cap="all">
                    <a:solidFill>
                      <a:srgbClr val="005581"/>
                    </a:solidFill>
                    <a:latin typeface="Proxima Nova"/>
                  </a:rPr>
                  <a:t>NEW </a:t>
                </a:r>
              </a:p>
              <a:p>
                <a:pPr>
                  <a:lnSpc>
                    <a:spcPts val="2200"/>
                  </a:lnSpc>
                </a:pPr>
                <a:r>
                  <a:rPr lang="en-US" sz="2400" cap="all">
                    <a:solidFill>
                      <a:srgbClr val="005581"/>
                    </a:solidFill>
                    <a:latin typeface="Proxima Nova"/>
                  </a:rPr>
                  <a:t>VENTURES</a:t>
                </a:r>
                <a:endParaRPr lang="en-US" sz="2400" i="0" cap="all">
                  <a:solidFill>
                    <a:srgbClr val="005581"/>
                  </a:solidFill>
                  <a:effectLst/>
                  <a:latin typeface="Proxima Nova"/>
                </a:endParaRPr>
              </a:p>
            </p:txBody>
          </p:sp>
        </p:grpSp>
        <p:pic>
          <p:nvPicPr>
            <p:cNvPr id="1026" name="Picture 2" descr="Image result for Atlanta FaZe">
              <a:extLst>
                <a:ext uri="{FF2B5EF4-FFF2-40B4-BE49-F238E27FC236}">
                  <a16:creationId xmlns:a16="http://schemas.microsoft.com/office/drawing/2014/main" id="{868C7ADE-4252-4BF9-A386-692902AB1D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87045" y="5409469"/>
              <a:ext cx="1003657" cy="6098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Carbon Lighthouse">
              <a:extLst>
                <a:ext uri="{FF2B5EF4-FFF2-40B4-BE49-F238E27FC236}">
                  <a16:creationId xmlns:a16="http://schemas.microsoft.com/office/drawing/2014/main" id="{887BE3BF-5A12-4018-8BE4-542BC7B1D8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93949" y="5589413"/>
              <a:ext cx="1339847" cy="4593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Image result for rimidi">
              <a:extLst>
                <a:ext uri="{FF2B5EF4-FFF2-40B4-BE49-F238E27FC236}">
                  <a16:creationId xmlns:a16="http://schemas.microsoft.com/office/drawing/2014/main" id="{2FF2BF33-732E-48FE-B0E3-DBABA44D00D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69798" y="4837548"/>
              <a:ext cx="814288" cy="8142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 descr="Image result for trapollo">
              <a:extLst>
                <a:ext uri="{FF2B5EF4-FFF2-40B4-BE49-F238E27FC236}">
                  <a16:creationId xmlns:a16="http://schemas.microsoft.com/office/drawing/2014/main" id="{9E710F34-EB2C-4567-9E4C-EB6E8D2219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41608" y="5304511"/>
              <a:ext cx="1248427" cy="12484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2" name="Shape 195">
            <a:extLst>
              <a:ext uri="{FF2B5EF4-FFF2-40B4-BE49-F238E27FC236}">
                <a16:creationId xmlns:a16="http://schemas.microsoft.com/office/drawing/2014/main" id="{A5FC3070-AEB8-462F-B155-A597375ECC89}"/>
              </a:ext>
            </a:extLst>
          </p:cNvPr>
          <p:cNvSpPr/>
          <p:nvPr/>
        </p:nvSpPr>
        <p:spPr>
          <a:xfrm>
            <a:off x="3821218" y="3017896"/>
            <a:ext cx="11504" cy="3186264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33" name="Shape 195">
            <a:extLst>
              <a:ext uri="{FF2B5EF4-FFF2-40B4-BE49-F238E27FC236}">
                <a16:creationId xmlns:a16="http://schemas.microsoft.com/office/drawing/2014/main" id="{1ADA35D0-5990-4995-934D-4111FAF4D888}"/>
              </a:ext>
            </a:extLst>
          </p:cNvPr>
          <p:cNvSpPr/>
          <p:nvPr/>
        </p:nvSpPr>
        <p:spPr>
          <a:xfrm>
            <a:off x="7665734" y="2982697"/>
            <a:ext cx="11504" cy="3186264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01182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A6770186-160D-4FC7-87DF-09D01C878D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A6770186-160D-4FC7-87DF-09D01C878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1670F6B5-5CBB-4014-9B4B-B31724EC94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848338-0058-4EDC-A0FA-D7F6FEAED3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-23707"/>
            <a:ext cx="11204448" cy="897971"/>
          </a:xfrm>
        </p:spPr>
        <p:txBody>
          <a:bodyPr/>
          <a:lstStyle/>
          <a:p>
            <a:r>
              <a:rPr lang="en-US" dirty="0"/>
              <a:t>Cox Wireless Network Product Se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15A2EB-6899-434F-B78D-2E9D550C50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ource: Interviews with Cox stakeholders, Arthur D. Little analysis</a:t>
            </a:r>
          </a:p>
        </p:txBody>
      </p:sp>
      <p:sp>
        <p:nvSpPr>
          <p:cNvPr id="18" name="Right Bracket 17">
            <a:extLst>
              <a:ext uri="{FF2B5EF4-FFF2-40B4-BE49-F238E27FC236}">
                <a16:creationId xmlns:a16="http://schemas.microsoft.com/office/drawing/2014/main" id="{899C0BDC-EF8D-4576-AE8B-699A63D25B1C}"/>
              </a:ext>
            </a:extLst>
          </p:cNvPr>
          <p:cNvSpPr/>
          <p:nvPr/>
        </p:nvSpPr>
        <p:spPr>
          <a:xfrm rot="10800000">
            <a:off x="2788089" y="4636132"/>
            <a:ext cx="3596640" cy="731520"/>
          </a:xfrm>
          <a:prstGeom prst="rightBracket">
            <a:avLst>
              <a:gd name="adj" fmla="val 0"/>
            </a:avLst>
          </a:prstGeom>
          <a:ln w="28575"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1318" name="Picture 6" descr="Big Cox2M Logo">
            <a:extLst>
              <a:ext uri="{FF2B5EF4-FFF2-40B4-BE49-F238E27FC236}">
                <a16:creationId xmlns:a16="http://schemas.microsoft.com/office/drawing/2014/main" id="{2E6E1619-7D5C-4CEC-8EE0-C5F881BA86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3382" y="2949923"/>
            <a:ext cx="1647904" cy="306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1" name="Group 50">
            <a:extLst>
              <a:ext uri="{FF2B5EF4-FFF2-40B4-BE49-F238E27FC236}">
                <a16:creationId xmlns:a16="http://schemas.microsoft.com/office/drawing/2014/main" id="{549A5400-2F1E-4F71-AD56-73C17FA2F2D7}"/>
              </a:ext>
            </a:extLst>
          </p:cNvPr>
          <p:cNvGrpSpPr/>
          <p:nvPr/>
        </p:nvGrpSpPr>
        <p:grpSpPr>
          <a:xfrm>
            <a:off x="798022" y="1451958"/>
            <a:ext cx="10280073" cy="457200"/>
            <a:chOff x="493777" y="1266754"/>
            <a:chExt cx="11204447" cy="457200"/>
          </a:xfrm>
        </p:grpSpPr>
        <p:cxnSp>
          <p:nvCxnSpPr>
            <p:cNvPr id="52" name="Connecteur droit 11">
              <a:extLst>
                <a:ext uri="{FF2B5EF4-FFF2-40B4-BE49-F238E27FC236}">
                  <a16:creationId xmlns:a16="http://schemas.microsoft.com/office/drawing/2014/main" id="{66E0570E-6D4E-4FFF-B9B1-C01DD35A37AB}"/>
                </a:ext>
              </a:extLst>
            </p:cNvPr>
            <p:cNvCxnSpPr/>
            <p:nvPr/>
          </p:nvCxnSpPr>
          <p:spPr>
            <a:xfrm>
              <a:off x="493777" y="1723954"/>
              <a:ext cx="11204447" cy="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53" name="Espace réservé du texte 2">
              <a:extLst>
                <a:ext uri="{FF2B5EF4-FFF2-40B4-BE49-F238E27FC236}">
                  <a16:creationId xmlns:a16="http://schemas.microsoft.com/office/drawing/2014/main" id="{591737E3-663C-4B35-9207-0D30288AA484}"/>
                </a:ext>
              </a:extLst>
            </p:cNvPr>
            <p:cNvSpPr txBox="1">
              <a:spLocks/>
            </p:cNvSpPr>
            <p:nvPr/>
          </p:nvSpPr>
          <p:spPr>
            <a:xfrm>
              <a:off x="493777" y="1266754"/>
              <a:ext cx="11204447" cy="457200"/>
            </a:xfrm>
            <a:prstGeom prst="rect">
              <a:avLst/>
            </a:prstGeom>
            <a:noFill/>
          </p:spPr>
          <p:txBody>
            <a:bodyPr wrap="square" lIns="0" tIns="67500" rIns="0" bIns="67500" anchor="ctr" anchorCtr="0">
              <a:noAutofit/>
            </a:bodyPr>
            <a:lstStyle>
              <a:lvl1pPr marL="0" marR="0" indent="0" algn="l" defTabSz="914400" rtl="0" eaLnBrk="1" fontAlgn="auto" latinLnBrk="0" hangingPunct="1">
                <a:lnSpc>
                  <a:spcPct val="5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800" i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7800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49263" indent="-1778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49263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US" sz="2400" dirty="0">
                  <a:solidFill>
                    <a:schemeClr val="accent2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Wireless Networks ‘Toolbox’</a:t>
              </a: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E00EA0D1-D01E-4D8F-9992-C9E2936BF3F2}"/>
              </a:ext>
            </a:extLst>
          </p:cNvPr>
          <p:cNvSpPr txBox="1"/>
          <p:nvPr/>
        </p:nvSpPr>
        <p:spPr>
          <a:xfrm>
            <a:off x="411678" y="744752"/>
            <a:ext cx="1168057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ox has a broad set of wireless capabilities to meet customers needs – Private Networks are simply another option to help address customer pain points</a:t>
            </a:r>
          </a:p>
        </p:txBody>
      </p:sp>
      <p:pic>
        <p:nvPicPr>
          <p:cNvPr id="282632" name="Picture 8" descr="Cox Business Sales - Cox Enterprises">
            <a:extLst>
              <a:ext uri="{FF2B5EF4-FFF2-40B4-BE49-F238E27FC236}">
                <a16:creationId xmlns:a16="http://schemas.microsoft.com/office/drawing/2014/main" id="{45C55B6A-091A-4079-B7D4-D1C0BF5B7E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155" y="3329173"/>
            <a:ext cx="1130582" cy="1130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2634" name="Picture 10" descr="Download Cox Communications Logo in SVG Vector or PNG File Format ...">
            <a:extLst>
              <a:ext uri="{FF2B5EF4-FFF2-40B4-BE49-F238E27FC236}">
                <a16:creationId xmlns:a16="http://schemas.microsoft.com/office/drawing/2014/main" id="{CED06F4A-678A-4223-99B8-A5F059A557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0427" y="2567162"/>
            <a:ext cx="1647904" cy="1098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2636" name="Picture 12" descr="InSite Wireless Group and SOLiD Expand Wireless Network to MBTA's ...">
            <a:extLst>
              <a:ext uri="{FF2B5EF4-FFF2-40B4-BE49-F238E27FC236}">
                <a16:creationId xmlns:a16="http://schemas.microsoft.com/office/drawing/2014/main" id="{0ED75A29-E7F2-402F-A68D-175ED7D92E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052" y="2789661"/>
            <a:ext cx="1034289" cy="611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2639" name="Picture 15" descr="Cox Business Sales - Cox Enterprises">
            <a:extLst>
              <a:ext uri="{FF2B5EF4-FFF2-40B4-BE49-F238E27FC236}">
                <a16:creationId xmlns:a16="http://schemas.microsoft.com/office/drawing/2014/main" id="{A23BFA27-BFD4-4432-AA14-F2374D543C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49" t="35195" b="38220"/>
          <a:stretch/>
        </p:blipFill>
        <p:spPr bwMode="auto">
          <a:xfrm>
            <a:off x="1212895" y="5296249"/>
            <a:ext cx="1711670" cy="664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2641" name="Picture 17" descr="Hotel WiFi Provider | Blueprint RF Hotel HSIA Guest WiFi">
            <a:extLst>
              <a:ext uri="{FF2B5EF4-FFF2-40B4-BE49-F238E27FC236}">
                <a16:creationId xmlns:a16="http://schemas.microsoft.com/office/drawing/2014/main" id="{EAE82811-7A69-43DB-B00A-575BF11E5B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155" y="4599459"/>
            <a:ext cx="1276398" cy="511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2643" name="Picture 19" descr="15 Red Tool Box Icons Images - Red Toolbox Icon, Black Tool Box ...">
            <a:extLst>
              <a:ext uri="{FF2B5EF4-FFF2-40B4-BE49-F238E27FC236}">
                <a16:creationId xmlns:a16="http://schemas.microsoft.com/office/drawing/2014/main" id="{C46FB23F-F7B7-497F-BADF-70853A36D6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0064" y="3890758"/>
            <a:ext cx="3527728" cy="2459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74F2128-77BF-4358-847F-2B2F59A31C56}"/>
              </a:ext>
            </a:extLst>
          </p:cNvPr>
          <p:cNvSpPr/>
          <p:nvPr/>
        </p:nvSpPr>
        <p:spPr>
          <a:xfrm>
            <a:off x="1103375" y="2120519"/>
            <a:ext cx="1928878" cy="509664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naged </a:t>
            </a:r>
            <a:r>
              <a:rPr lang="en-US" dirty="0" err="1"/>
              <a:t>WiFi</a:t>
            </a:r>
            <a:endParaRPr lang="en-US" dirty="0"/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1FB871FA-A926-46A8-A75C-7F4FB43B57BF}"/>
              </a:ext>
            </a:extLst>
          </p:cNvPr>
          <p:cNvSpPr/>
          <p:nvPr/>
        </p:nvSpPr>
        <p:spPr>
          <a:xfrm>
            <a:off x="3563837" y="2120519"/>
            <a:ext cx="1928878" cy="509664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/>
              <a:t>LoRa</a:t>
            </a:r>
            <a:r>
              <a:rPr lang="en-US" dirty="0"/>
              <a:t>/NB-IoT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F143061E-4D58-4EAC-8C06-724F464EF714}"/>
              </a:ext>
            </a:extLst>
          </p:cNvPr>
          <p:cNvSpPr/>
          <p:nvPr/>
        </p:nvSpPr>
        <p:spPr>
          <a:xfrm>
            <a:off x="6140673" y="2120519"/>
            <a:ext cx="1928878" cy="509664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S</a:t>
            </a: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1065BDC7-8340-474E-9650-7A0FF0C4A4BF}"/>
              </a:ext>
            </a:extLst>
          </p:cNvPr>
          <p:cNvSpPr/>
          <p:nvPr/>
        </p:nvSpPr>
        <p:spPr>
          <a:xfrm>
            <a:off x="8678717" y="2120519"/>
            <a:ext cx="1928878" cy="509664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PN</a:t>
            </a:r>
          </a:p>
        </p:txBody>
      </p:sp>
      <p:pic>
        <p:nvPicPr>
          <p:cNvPr id="282645" name="Picture 21" descr="Mechanics Wrench Clipart - Clipart Kid | Clip art, Tool box, Tools">
            <a:extLst>
              <a:ext uri="{FF2B5EF4-FFF2-40B4-BE49-F238E27FC236}">
                <a16:creationId xmlns:a16="http://schemas.microsoft.com/office/drawing/2014/main" id="{C3F90A58-9B2B-492D-914C-3FFAB5E0D2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088098">
            <a:off x="654306" y="2238787"/>
            <a:ext cx="942940" cy="377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411AA3B-4A0B-4035-8D7B-FED139094F2A}"/>
              </a:ext>
            </a:extLst>
          </p:cNvPr>
          <p:cNvSpPr/>
          <p:nvPr/>
        </p:nvSpPr>
        <p:spPr>
          <a:xfrm>
            <a:off x="8678717" y="2800253"/>
            <a:ext cx="1912481" cy="763069"/>
          </a:xfrm>
          <a:prstGeom prst="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Cox Mobile Private Networks</a:t>
            </a:r>
          </a:p>
        </p:txBody>
      </p:sp>
      <p:pic>
        <p:nvPicPr>
          <p:cNvPr id="282648" name="Picture 24" descr="Hammer free tools icons downloads clipart image #15854">
            <a:extLst>
              <a:ext uri="{FF2B5EF4-FFF2-40B4-BE49-F238E27FC236}">
                <a16:creationId xmlns:a16="http://schemas.microsoft.com/office/drawing/2014/main" id="{874FE981-1D85-4F67-9478-79AF07FB14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1856" y="1867562"/>
            <a:ext cx="1015578" cy="1015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2650" name="Picture 26" descr="Download Hand Saw Png Clipart HQ PNG Image | FreePNGImg">
            <a:extLst>
              <a:ext uri="{FF2B5EF4-FFF2-40B4-BE49-F238E27FC236}">
                <a16:creationId xmlns:a16="http://schemas.microsoft.com/office/drawing/2014/main" id="{31E5CC1C-C106-4526-8104-90981028FC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487354">
            <a:off x="5936536" y="1933060"/>
            <a:ext cx="807509" cy="807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2652" name="Picture 28" descr="Download Screwdriver Hand Tool - Construction Using Screwdriver ...">
            <a:extLst>
              <a:ext uri="{FF2B5EF4-FFF2-40B4-BE49-F238E27FC236}">
                <a16:creationId xmlns:a16="http://schemas.microsoft.com/office/drawing/2014/main" id="{058A4713-88CB-42B0-8799-652F1D7920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0339" y="1909158"/>
            <a:ext cx="494267" cy="820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5754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942803C-7AFC-4768-9DD0-5B2EACBBFA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942803C-7AFC-4768-9DD0-5B2EACBBFA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000694-9606-45AA-A844-9E9F5BB08A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E161E40-B28A-467F-93EA-DAD33DA04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29891"/>
            <a:ext cx="11204448" cy="897971"/>
          </a:xfrm>
        </p:spPr>
        <p:txBody>
          <a:bodyPr/>
          <a:lstStyle/>
          <a:p>
            <a:r>
              <a:rPr lang="en-US" dirty="0"/>
              <a:t>Mobile Private Networks : Value Chai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2B5090-06A5-42B7-968C-C335C2C9B5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dirty="0"/>
              <a:t>(1) Market Sizing is exclusive of Network Services.</a:t>
            </a:r>
          </a:p>
        </p:txBody>
      </p:sp>
      <p:sp>
        <p:nvSpPr>
          <p:cNvPr id="8" name="AutoShape 6">
            <a:extLst>
              <a:ext uri="{FF2B5EF4-FFF2-40B4-BE49-F238E27FC236}">
                <a16:creationId xmlns:a16="http://schemas.microsoft.com/office/drawing/2014/main" id="{18345F43-0B65-4E23-A87A-334CCEAEC7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8607" y="1562793"/>
            <a:ext cx="1864479" cy="1355667"/>
          </a:xfrm>
          <a:prstGeom prst="chevron">
            <a:avLst>
              <a:gd name="adj" fmla="val 27344"/>
            </a:avLst>
          </a:prstGeom>
          <a:solidFill>
            <a:schemeClr val="accent3"/>
          </a:solidFill>
          <a:ln w="12700" algn="ctr">
            <a:noFill/>
            <a:miter lim="800000"/>
            <a:headEnd/>
            <a:tailEnd/>
          </a:ln>
          <a:effectLst/>
        </p:spPr>
        <p:txBody>
          <a:bodyPr tIns="91440" bIns="9144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>
                <a:solidFill>
                  <a:prstClr val="white"/>
                </a:solidFill>
              </a:rPr>
              <a:t>Network design and deployment </a:t>
            </a:r>
          </a:p>
        </p:txBody>
      </p:sp>
      <p:sp>
        <p:nvSpPr>
          <p:cNvPr id="9" name="AutoShape 6">
            <a:extLst>
              <a:ext uri="{FF2B5EF4-FFF2-40B4-BE49-F238E27FC236}">
                <a16:creationId xmlns:a16="http://schemas.microsoft.com/office/drawing/2014/main" id="{D3C7BBBD-038C-47E1-885A-C0F9CCEE44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8053" y="1562793"/>
            <a:ext cx="1864479" cy="1355667"/>
          </a:xfrm>
          <a:prstGeom prst="chevron">
            <a:avLst>
              <a:gd name="adj" fmla="val 27344"/>
            </a:avLst>
          </a:prstGeom>
          <a:solidFill>
            <a:schemeClr val="accent3"/>
          </a:solidFill>
          <a:ln w="12700" algn="ctr">
            <a:noFill/>
            <a:miter lim="800000"/>
            <a:headEnd/>
            <a:tailEnd/>
          </a:ln>
          <a:effectLst/>
        </p:spPr>
        <p:txBody>
          <a:bodyPr tIns="91440" bIns="9144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>
                <a:solidFill>
                  <a:prstClr val="white"/>
                </a:solidFill>
              </a:rPr>
              <a:t>Hardware / components</a:t>
            </a:r>
          </a:p>
        </p:txBody>
      </p:sp>
      <p:sp>
        <p:nvSpPr>
          <p:cNvPr id="10" name="AutoShape 6">
            <a:extLst>
              <a:ext uri="{FF2B5EF4-FFF2-40B4-BE49-F238E27FC236}">
                <a16:creationId xmlns:a16="http://schemas.microsoft.com/office/drawing/2014/main" id="{21E7A645-C2DD-4F78-A79A-361BA13F1E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8330" y="1562793"/>
            <a:ext cx="1864479" cy="1355667"/>
          </a:xfrm>
          <a:prstGeom prst="chevron">
            <a:avLst>
              <a:gd name="adj" fmla="val 27344"/>
            </a:avLst>
          </a:prstGeom>
          <a:solidFill>
            <a:schemeClr val="accent3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45720" tIns="91440" rIns="45720" bIns="9144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>
                <a:solidFill>
                  <a:prstClr val="white"/>
                </a:solidFill>
              </a:rPr>
              <a:t>Private / public comm. infrastructure</a:t>
            </a:r>
          </a:p>
        </p:txBody>
      </p:sp>
      <p:sp>
        <p:nvSpPr>
          <p:cNvPr id="11" name="AutoShape 6">
            <a:extLst>
              <a:ext uri="{FF2B5EF4-FFF2-40B4-BE49-F238E27FC236}">
                <a16:creationId xmlns:a16="http://schemas.microsoft.com/office/drawing/2014/main" id="{1EFAF059-F9FE-4F64-893A-42D37BF10C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98884" y="1562793"/>
            <a:ext cx="1864479" cy="1355667"/>
          </a:xfrm>
          <a:prstGeom prst="chevron">
            <a:avLst>
              <a:gd name="adj" fmla="val 27344"/>
            </a:avLst>
          </a:prstGeom>
          <a:solidFill>
            <a:schemeClr val="accent3"/>
          </a:solidFill>
          <a:ln w="12700" algn="ctr">
            <a:noFill/>
            <a:miter lim="800000"/>
            <a:headEnd/>
            <a:tailEnd/>
          </a:ln>
          <a:effectLst/>
        </p:spPr>
        <p:txBody>
          <a:bodyPr tIns="91440" bIns="9144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>
                <a:solidFill>
                  <a:prstClr val="white"/>
                </a:solidFill>
              </a:rPr>
              <a:t>Network operation</a:t>
            </a:r>
          </a:p>
        </p:txBody>
      </p:sp>
      <p:sp>
        <p:nvSpPr>
          <p:cNvPr id="12" name="AutoShape 6">
            <a:extLst>
              <a:ext uri="{FF2B5EF4-FFF2-40B4-BE49-F238E27FC236}">
                <a16:creationId xmlns:a16="http://schemas.microsoft.com/office/drawing/2014/main" id="{A88C06A2-FF3A-461B-B858-1AD8F5A6EC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9161" y="1562793"/>
            <a:ext cx="1864479" cy="1355667"/>
          </a:xfrm>
          <a:prstGeom prst="chevron">
            <a:avLst>
              <a:gd name="adj" fmla="val 27344"/>
            </a:avLst>
          </a:prstGeom>
          <a:solidFill>
            <a:schemeClr val="accent3"/>
          </a:solidFill>
          <a:ln w="12700" algn="ctr">
            <a:noFill/>
            <a:miter lim="800000"/>
            <a:headEnd/>
            <a:tailEnd/>
          </a:ln>
          <a:effectLst/>
        </p:spPr>
        <p:txBody>
          <a:bodyPr tIns="91440" bIns="9144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>
                <a:solidFill>
                  <a:prstClr val="white"/>
                </a:solidFill>
              </a:rPr>
              <a:t>Network services</a:t>
            </a:r>
            <a:endParaRPr lang="en-US" sz="1400" b="1" baseline="30000" dirty="0">
              <a:solidFill>
                <a:prstClr val="white"/>
              </a:solidFill>
            </a:endParaRPr>
          </a:p>
        </p:txBody>
      </p:sp>
      <p:sp>
        <p:nvSpPr>
          <p:cNvPr id="13" name="AutoShape 6">
            <a:extLst>
              <a:ext uri="{FF2B5EF4-FFF2-40B4-BE49-F238E27FC236}">
                <a16:creationId xmlns:a16="http://schemas.microsoft.com/office/drawing/2014/main" id="{915833F6-D348-4D3E-9BC9-27C1964574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9438" y="1562793"/>
            <a:ext cx="1864479" cy="1355667"/>
          </a:xfrm>
          <a:prstGeom prst="chevron">
            <a:avLst>
              <a:gd name="adj" fmla="val 27344"/>
            </a:avLst>
          </a:prstGeom>
          <a:solidFill>
            <a:schemeClr val="accent3"/>
          </a:solidFill>
          <a:ln w="12700" algn="ctr">
            <a:noFill/>
            <a:miter lim="800000"/>
            <a:headEnd/>
            <a:tailEnd/>
          </a:ln>
          <a:effectLst/>
        </p:spPr>
        <p:txBody>
          <a:bodyPr tIns="91440" bIns="9144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>
                <a:solidFill>
                  <a:prstClr val="white"/>
                </a:solidFill>
              </a:rPr>
              <a:t>End user device(s)</a:t>
            </a:r>
          </a:p>
        </p:txBody>
      </p:sp>
      <p:sp>
        <p:nvSpPr>
          <p:cNvPr id="14" name="AutoShape 6">
            <a:extLst>
              <a:ext uri="{FF2B5EF4-FFF2-40B4-BE49-F238E27FC236}">
                <a16:creationId xmlns:a16="http://schemas.microsoft.com/office/drawing/2014/main" id="{276AE000-CA62-42FA-975D-50ED8ADABA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9717" y="1562793"/>
            <a:ext cx="1864479" cy="1355667"/>
          </a:xfrm>
          <a:prstGeom prst="chevron">
            <a:avLst>
              <a:gd name="adj" fmla="val 27344"/>
            </a:avLst>
          </a:prstGeom>
          <a:solidFill>
            <a:schemeClr val="accent3"/>
          </a:solidFill>
          <a:ln w="12700" algn="ctr">
            <a:noFill/>
            <a:miter lim="800000"/>
            <a:headEnd/>
            <a:tailEnd/>
          </a:ln>
          <a:effectLst/>
        </p:spPr>
        <p:txBody>
          <a:bodyPr tIns="91440" bIns="9144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>
                <a:solidFill>
                  <a:prstClr val="white"/>
                </a:solidFill>
              </a:rPr>
              <a:t>OTT servic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4EAAE932-0C7F-4BAC-8204-DB24D8C48E7D}"/>
              </a:ext>
            </a:extLst>
          </p:cNvPr>
          <p:cNvSpPr txBox="1">
            <a:spLocks/>
          </p:cNvSpPr>
          <p:nvPr/>
        </p:nvSpPr>
        <p:spPr>
          <a:xfrm>
            <a:off x="3768607" y="3037322"/>
            <a:ext cx="1358106" cy="1097280"/>
          </a:xfrm>
          <a:prstGeom prst="rect">
            <a:avLst/>
          </a:prstGeom>
          <a:ln w="12700">
            <a:noFill/>
          </a:ln>
        </p:spPr>
        <p:txBody>
          <a:bodyPr lIns="0" tIns="90000" rIns="0" bIns="90000"/>
          <a:lstStyle>
            <a:defPPr>
              <a:defRPr lang="en-US"/>
            </a:defPPr>
            <a:lvl1pPr indent="0">
              <a:spcBef>
                <a:spcPts val="1500"/>
              </a:spcBef>
              <a:buFontTx/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228600" lvl="1" indent="-227013">
              <a:spcBef>
                <a:spcPts val="300"/>
              </a:spcBef>
              <a:buClr>
                <a:schemeClr val="accent1"/>
              </a:buClr>
              <a:buFont typeface="Wingdings" pitchFamily="2" charset="2"/>
              <a:buChar char="n"/>
              <a:defRPr sz="1000">
                <a:cs typeface="Arial" pitchFamily="34" charset="0"/>
              </a:defRPr>
            </a:lvl2pPr>
            <a:lvl3pPr marL="540000" indent="-268288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>
                <a:latin typeface="Arial" pitchFamily="34" charset="0"/>
                <a:cs typeface="Arial" pitchFamily="34" charset="0"/>
              </a:defRPr>
            </a:lvl3pPr>
            <a:lvl4pPr marL="810000" indent="-270000">
              <a:spcBef>
                <a:spcPts val="500"/>
              </a:spcBef>
              <a:buFont typeface="Arial" pitchFamily="34" charset="0"/>
              <a:buChar char="–"/>
              <a:defRPr sz="1400">
                <a:latin typeface="Arial" pitchFamily="34" charset="0"/>
                <a:cs typeface="Arial" pitchFamily="34" charset="0"/>
              </a:defRPr>
            </a:lvl4pPr>
            <a:lvl5pPr marL="810000" indent="0">
              <a:spcBef>
                <a:spcPts val="500"/>
              </a:spcBef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0"/>
              </a:spcBef>
            </a:pPr>
            <a:r>
              <a:rPr lang="en-US" sz="1400">
                <a:solidFill>
                  <a:schemeClr val="accent2"/>
                </a:solidFill>
              </a:rPr>
              <a:t>Network design services</a:t>
            </a:r>
          </a:p>
          <a:p>
            <a:pPr lvl="1">
              <a:spcBef>
                <a:spcPts val="0"/>
              </a:spcBef>
            </a:pPr>
            <a:r>
              <a:rPr lang="en-US" sz="1400">
                <a:solidFill>
                  <a:schemeClr val="accent2"/>
                </a:solidFill>
              </a:rPr>
              <a:t>Project management</a:t>
            </a:r>
          </a:p>
          <a:p>
            <a:pPr lvl="1">
              <a:spcBef>
                <a:spcPts val="0"/>
              </a:spcBef>
            </a:pPr>
            <a:r>
              <a:rPr lang="en-US" sz="1400">
                <a:solidFill>
                  <a:schemeClr val="accent2"/>
                </a:solidFill>
              </a:rPr>
              <a:t>Physical asset deployment and configuration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B0FB01C5-2F47-4D4B-8830-D172E7E4C457}"/>
              </a:ext>
            </a:extLst>
          </p:cNvPr>
          <p:cNvSpPr txBox="1">
            <a:spLocks/>
          </p:cNvSpPr>
          <p:nvPr/>
        </p:nvSpPr>
        <p:spPr>
          <a:xfrm>
            <a:off x="708053" y="3037322"/>
            <a:ext cx="1358106" cy="1097280"/>
          </a:xfrm>
          <a:prstGeom prst="rect">
            <a:avLst/>
          </a:prstGeom>
          <a:ln w="12700">
            <a:noFill/>
          </a:ln>
        </p:spPr>
        <p:txBody>
          <a:bodyPr lIns="0" tIns="90000" rIns="0" bIns="90000"/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1" indent="-227013">
              <a:spcBef>
                <a:spcPts val="0"/>
              </a:spcBef>
              <a:buClr>
                <a:schemeClr val="accent1"/>
              </a:buClr>
            </a:pPr>
            <a:r>
              <a:rPr lang="en-US">
                <a:solidFill>
                  <a:schemeClr val="accent2"/>
                </a:solidFill>
                <a:latin typeface="+mn-lt"/>
              </a:rPr>
              <a:t>Routers / switches</a:t>
            </a:r>
          </a:p>
          <a:p>
            <a:pPr marL="228600" lvl="1" indent="-227013">
              <a:spcBef>
                <a:spcPts val="0"/>
              </a:spcBef>
              <a:buClr>
                <a:schemeClr val="accent1"/>
              </a:buClr>
            </a:pPr>
            <a:r>
              <a:rPr lang="en-US">
                <a:solidFill>
                  <a:schemeClr val="accent2"/>
                </a:solidFill>
                <a:latin typeface="+mn-lt"/>
              </a:rPr>
              <a:t>Base stations / access points</a:t>
            </a:r>
          </a:p>
          <a:p>
            <a:pPr marL="228600" lvl="1" indent="-227013">
              <a:spcBef>
                <a:spcPts val="0"/>
              </a:spcBef>
              <a:buClr>
                <a:schemeClr val="accent1"/>
              </a:buClr>
            </a:pPr>
            <a:r>
              <a:rPr lang="en-US">
                <a:solidFill>
                  <a:schemeClr val="accent2"/>
                </a:solidFill>
                <a:latin typeface="+mn-lt"/>
              </a:rPr>
              <a:t>Gateways</a:t>
            </a:r>
          </a:p>
          <a:p>
            <a:pPr marL="228600" lvl="1" indent="-227013">
              <a:spcBef>
                <a:spcPts val="0"/>
              </a:spcBef>
              <a:buClr>
                <a:schemeClr val="accent1"/>
              </a:buClr>
            </a:pPr>
            <a:r>
              <a:rPr lang="en-US">
                <a:solidFill>
                  <a:schemeClr val="accent2"/>
                </a:solidFill>
                <a:latin typeface="+mn-lt"/>
              </a:rPr>
              <a:t>Chipset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8A91B8EA-EA0C-4C31-8364-53DDEE46AEEE}"/>
              </a:ext>
            </a:extLst>
          </p:cNvPr>
          <p:cNvSpPr txBox="1">
            <a:spLocks/>
          </p:cNvSpPr>
          <p:nvPr/>
        </p:nvSpPr>
        <p:spPr>
          <a:xfrm>
            <a:off x="2238330" y="3037322"/>
            <a:ext cx="1358106" cy="1097280"/>
          </a:xfrm>
          <a:prstGeom prst="rect">
            <a:avLst/>
          </a:prstGeom>
          <a:ln w="12700">
            <a:noFill/>
          </a:ln>
        </p:spPr>
        <p:txBody>
          <a:bodyPr lIns="0" tIns="90000" rIns="0" bIns="90000"/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1" indent="-227013">
              <a:spcBef>
                <a:spcPts val="0"/>
              </a:spcBef>
              <a:buClr>
                <a:schemeClr val="accent1"/>
              </a:buClr>
            </a:pPr>
            <a:r>
              <a:rPr lang="en-US">
                <a:solidFill>
                  <a:schemeClr val="accent2"/>
                </a:solidFill>
                <a:latin typeface="+mn-lt"/>
              </a:rPr>
              <a:t>(Access to) connectivity assets incl. spectrum, fiber</a:t>
            </a:r>
          </a:p>
          <a:p>
            <a:pPr marL="228600" lvl="1" indent="-227013">
              <a:spcBef>
                <a:spcPts val="0"/>
              </a:spcBef>
              <a:buClr>
                <a:schemeClr val="accent1"/>
              </a:buClr>
            </a:pPr>
            <a:r>
              <a:rPr lang="en-US">
                <a:solidFill>
                  <a:schemeClr val="accent2"/>
                </a:solidFill>
                <a:latin typeface="+mn-lt"/>
              </a:rPr>
              <a:t>Software / physical interfaces (protocols, towers, etc.)</a:t>
            </a:r>
          </a:p>
          <a:p>
            <a:pPr marL="228600" lvl="1" indent="-227013">
              <a:spcBef>
                <a:spcPts val="0"/>
              </a:spcBef>
              <a:buClr>
                <a:schemeClr val="accent1"/>
              </a:buClr>
            </a:pPr>
            <a:endParaRPr lang="en-US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EE87066-E4F2-413B-AE61-F0901B7C6D2A}"/>
              </a:ext>
            </a:extLst>
          </p:cNvPr>
          <p:cNvSpPr txBox="1">
            <a:spLocks/>
          </p:cNvSpPr>
          <p:nvPr/>
        </p:nvSpPr>
        <p:spPr>
          <a:xfrm>
            <a:off x="5298884" y="3037322"/>
            <a:ext cx="1358106" cy="1097280"/>
          </a:xfrm>
          <a:prstGeom prst="rect">
            <a:avLst/>
          </a:prstGeom>
          <a:ln w="12700">
            <a:noFill/>
          </a:ln>
        </p:spPr>
        <p:txBody>
          <a:bodyPr lIns="0" tIns="90000" rIns="0" bIns="90000"/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1" indent="-227013">
              <a:spcBef>
                <a:spcPts val="0"/>
              </a:spcBef>
              <a:buClr>
                <a:schemeClr val="accent1"/>
              </a:buClr>
            </a:pPr>
            <a:r>
              <a:rPr lang="en-US">
                <a:solidFill>
                  <a:schemeClr val="accent2"/>
                </a:solidFill>
                <a:latin typeface="+mn-lt"/>
              </a:rPr>
              <a:t>Monitoring &amp; analytics</a:t>
            </a:r>
          </a:p>
          <a:p>
            <a:pPr marL="228600" lvl="1" indent="-227013">
              <a:spcBef>
                <a:spcPts val="0"/>
              </a:spcBef>
              <a:buClr>
                <a:schemeClr val="accent1"/>
              </a:buClr>
            </a:pPr>
            <a:r>
              <a:rPr lang="en-US">
                <a:solidFill>
                  <a:schemeClr val="accent2"/>
                </a:solidFill>
                <a:latin typeface="+mn-lt"/>
              </a:rPr>
              <a:t>Maintenance</a:t>
            </a:r>
          </a:p>
          <a:p>
            <a:pPr marL="228600" lvl="1" indent="-227013">
              <a:spcBef>
                <a:spcPts val="0"/>
              </a:spcBef>
              <a:buClr>
                <a:schemeClr val="accent1"/>
              </a:buClr>
            </a:pPr>
            <a:r>
              <a:rPr lang="en-US">
                <a:solidFill>
                  <a:schemeClr val="accent2"/>
                </a:solidFill>
                <a:latin typeface="+mn-lt"/>
              </a:rPr>
              <a:t>Managemen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AE7FA3F0-6B5A-4FDA-948B-7D880F6633B8}"/>
              </a:ext>
            </a:extLst>
          </p:cNvPr>
          <p:cNvSpPr txBox="1">
            <a:spLocks/>
          </p:cNvSpPr>
          <p:nvPr/>
        </p:nvSpPr>
        <p:spPr>
          <a:xfrm>
            <a:off x="6829161" y="3037322"/>
            <a:ext cx="1358106" cy="1097280"/>
          </a:xfrm>
          <a:prstGeom prst="rect">
            <a:avLst/>
          </a:prstGeom>
          <a:ln w="12700">
            <a:noFill/>
          </a:ln>
        </p:spPr>
        <p:txBody>
          <a:bodyPr lIns="0" tIns="90000" rIns="0" bIns="90000"/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1" indent="-227013">
              <a:spcBef>
                <a:spcPts val="0"/>
              </a:spcBef>
              <a:buClr>
                <a:schemeClr val="accent1"/>
              </a:buClr>
            </a:pPr>
            <a:r>
              <a:rPr lang="en-US">
                <a:solidFill>
                  <a:schemeClr val="accent2"/>
                </a:solidFill>
                <a:latin typeface="+mn-lt"/>
              </a:rPr>
              <a:t>Data (VPN)</a:t>
            </a:r>
          </a:p>
          <a:p>
            <a:pPr marL="228600" lvl="1" indent="-227013">
              <a:spcBef>
                <a:spcPts val="0"/>
              </a:spcBef>
              <a:buClr>
                <a:schemeClr val="accent1"/>
              </a:buClr>
            </a:pPr>
            <a:r>
              <a:rPr lang="en-US">
                <a:solidFill>
                  <a:schemeClr val="accent2"/>
                </a:solidFill>
                <a:latin typeface="+mn-lt"/>
              </a:rPr>
              <a:t>Internet (peering)</a:t>
            </a:r>
          </a:p>
          <a:p>
            <a:pPr marL="228600" lvl="1" indent="-227013">
              <a:spcBef>
                <a:spcPts val="0"/>
              </a:spcBef>
              <a:buClr>
                <a:schemeClr val="accent1"/>
              </a:buClr>
            </a:pPr>
            <a:r>
              <a:rPr lang="en-US">
                <a:solidFill>
                  <a:schemeClr val="accent2"/>
                </a:solidFill>
                <a:latin typeface="+mn-lt"/>
              </a:rPr>
              <a:t>Security</a:t>
            </a:r>
          </a:p>
          <a:p>
            <a:pPr marL="228600" lvl="1" indent="-227013">
              <a:spcBef>
                <a:spcPts val="0"/>
              </a:spcBef>
              <a:buClr>
                <a:schemeClr val="accent1"/>
              </a:buClr>
            </a:pPr>
            <a:r>
              <a:rPr lang="en-US">
                <a:solidFill>
                  <a:schemeClr val="accent2"/>
                </a:solidFill>
                <a:latin typeface="+mn-lt"/>
              </a:rPr>
              <a:t>Other service platforms</a:t>
            </a:r>
          </a:p>
          <a:p>
            <a:pPr marL="228600" lvl="1" indent="-227013">
              <a:spcBef>
                <a:spcPts val="0"/>
              </a:spcBef>
              <a:buClr>
                <a:schemeClr val="accent1"/>
              </a:buClr>
            </a:pPr>
            <a:r>
              <a:rPr lang="en-US">
                <a:solidFill>
                  <a:schemeClr val="accent2"/>
                </a:solidFill>
                <a:latin typeface="+mn-lt"/>
              </a:rPr>
              <a:t>Voice</a:t>
            </a:r>
          </a:p>
          <a:p>
            <a:pPr marL="228600" lvl="1" indent="-227013">
              <a:spcBef>
                <a:spcPts val="0"/>
              </a:spcBef>
              <a:buClr>
                <a:schemeClr val="accent1"/>
              </a:buClr>
            </a:pPr>
            <a:r>
              <a:rPr lang="en-US">
                <a:solidFill>
                  <a:schemeClr val="accent2"/>
                </a:solidFill>
                <a:latin typeface="+mn-lt"/>
              </a:rPr>
              <a:t>Messaging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C41EFF9-F496-4150-B3B1-C63095FE7BF9}"/>
              </a:ext>
            </a:extLst>
          </p:cNvPr>
          <p:cNvSpPr txBox="1">
            <a:spLocks/>
          </p:cNvSpPr>
          <p:nvPr/>
        </p:nvSpPr>
        <p:spPr>
          <a:xfrm>
            <a:off x="8359438" y="3037322"/>
            <a:ext cx="1358106" cy="1097280"/>
          </a:xfrm>
          <a:prstGeom prst="rect">
            <a:avLst/>
          </a:prstGeom>
          <a:ln w="12700">
            <a:noFill/>
          </a:ln>
        </p:spPr>
        <p:txBody>
          <a:bodyPr lIns="0" tIns="90000" rIns="0" bIns="90000"/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1" indent="-227013">
              <a:spcBef>
                <a:spcPts val="0"/>
              </a:spcBef>
              <a:buClr>
                <a:schemeClr val="accent1"/>
              </a:buClr>
            </a:pPr>
            <a:r>
              <a:rPr lang="en-US">
                <a:solidFill>
                  <a:schemeClr val="accent2"/>
                </a:solidFill>
                <a:latin typeface="+mn-lt"/>
              </a:rPr>
              <a:t>Mobile phones</a:t>
            </a:r>
          </a:p>
          <a:p>
            <a:pPr marL="228600" lvl="1" indent="-227013">
              <a:spcBef>
                <a:spcPts val="0"/>
              </a:spcBef>
              <a:buClr>
                <a:schemeClr val="accent1"/>
              </a:buClr>
            </a:pPr>
            <a:r>
              <a:rPr lang="en-US">
                <a:solidFill>
                  <a:schemeClr val="accent2"/>
                </a:solidFill>
                <a:latin typeface="+mn-lt"/>
              </a:rPr>
              <a:t>Servers</a:t>
            </a:r>
          </a:p>
          <a:p>
            <a:pPr marL="228600" lvl="1" indent="-227013">
              <a:spcBef>
                <a:spcPts val="0"/>
              </a:spcBef>
              <a:buClr>
                <a:schemeClr val="accent1"/>
              </a:buClr>
            </a:pPr>
            <a:r>
              <a:rPr lang="en-US">
                <a:solidFill>
                  <a:schemeClr val="accent2"/>
                </a:solidFill>
                <a:latin typeface="+mn-lt"/>
              </a:rPr>
              <a:t>Computing equipment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51DF2CB1-461B-440A-8530-F905B00575C7}"/>
              </a:ext>
            </a:extLst>
          </p:cNvPr>
          <p:cNvSpPr txBox="1">
            <a:spLocks/>
          </p:cNvSpPr>
          <p:nvPr/>
        </p:nvSpPr>
        <p:spPr>
          <a:xfrm>
            <a:off x="9889717" y="3028776"/>
            <a:ext cx="1358106" cy="1097280"/>
          </a:xfrm>
          <a:prstGeom prst="rect">
            <a:avLst/>
          </a:prstGeom>
          <a:ln w="12700">
            <a:noFill/>
          </a:ln>
        </p:spPr>
        <p:txBody>
          <a:bodyPr lIns="0" tIns="90000" rIns="0" bIns="90000"/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1" indent="-227013">
              <a:spcBef>
                <a:spcPts val="0"/>
              </a:spcBef>
              <a:buClr>
                <a:schemeClr val="accent1"/>
              </a:buClr>
            </a:pPr>
            <a:r>
              <a:rPr lang="en-US">
                <a:solidFill>
                  <a:schemeClr val="accent2"/>
                </a:solidFill>
                <a:latin typeface="+mn-lt"/>
              </a:rPr>
              <a:t>L3-VPN</a:t>
            </a:r>
          </a:p>
          <a:p>
            <a:pPr marL="228600" lvl="1" indent="-227013">
              <a:spcBef>
                <a:spcPts val="0"/>
              </a:spcBef>
              <a:buClr>
                <a:schemeClr val="accent1"/>
              </a:buClr>
            </a:pPr>
            <a:r>
              <a:rPr lang="en-US">
                <a:solidFill>
                  <a:schemeClr val="accent2"/>
                </a:solidFill>
                <a:latin typeface="+mn-lt"/>
              </a:rPr>
              <a:t>IoT platforms</a:t>
            </a:r>
          </a:p>
          <a:p>
            <a:pPr marL="228600" lvl="1" indent="-227013">
              <a:spcBef>
                <a:spcPts val="0"/>
              </a:spcBef>
              <a:buClr>
                <a:schemeClr val="accent1"/>
              </a:buClr>
            </a:pPr>
            <a:r>
              <a:rPr lang="en-US">
                <a:solidFill>
                  <a:schemeClr val="accent2"/>
                </a:solidFill>
                <a:latin typeface="+mn-lt"/>
              </a:rPr>
              <a:t>App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1911F4B-400B-412F-965F-1FD0F24CB3F1}"/>
              </a:ext>
            </a:extLst>
          </p:cNvPr>
          <p:cNvSpPr txBox="1"/>
          <p:nvPr/>
        </p:nvSpPr>
        <p:spPr>
          <a:xfrm>
            <a:off x="411678" y="744752"/>
            <a:ext cx="117803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here are multiple disparate (</a:t>
            </a:r>
            <a:r>
              <a:rPr lang="en-US" sz="2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nd often complex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) parts to building an end-to-end private network</a:t>
            </a:r>
          </a:p>
        </p:txBody>
      </p:sp>
    </p:spTree>
    <p:extLst>
      <p:ext uri="{BB962C8B-B14F-4D97-AF65-F5344CB8AC3E}">
        <p14:creationId xmlns:p14="http://schemas.microsoft.com/office/powerpoint/2010/main" val="824319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396AD9B-9906-4095-BDC0-642CAB5AC54B}"/>
              </a:ext>
            </a:extLst>
          </p:cNvPr>
          <p:cNvSpPr txBox="1"/>
          <p:nvPr/>
        </p:nvSpPr>
        <p:spPr>
          <a:xfrm>
            <a:off x="0" y="2459876"/>
            <a:ext cx="12192000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500" b="1">
                <a:solidFill>
                  <a:schemeClr val="bg1"/>
                </a:solidFill>
                <a:effectLst>
                  <a:glow rad="190500">
                    <a:schemeClr val="tx1">
                      <a:alpha val="30000"/>
                    </a:schemeClr>
                  </a:glow>
                </a:effectLst>
                <a:latin typeface="Avenir Next LT Pro" panose="020B0504020202020204" pitchFamily="34" charset="0"/>
              </a:rPr>
              <a:t>COMPANY</a:t>
            </a:r>
          </a:p>
        </p:txBody>
      </p:sp>
    </p:spTree>
    <p:extLst>
      <p:ext uri="{BB962C8B-B14F-4D97-AF65-F5344CB8AC3E}">
        <p14:creationId xmlns:p14="http://schemas.microsoft.com/office/powerpoint/2010/main" val="3630770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2FA7122-5470-4185-9EF4-509B09F19A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2FA7122-5470-4185-9EF4-509B09F19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1C07373-543F-4C4B-901F-A2A63E9E1F7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2CDC65-54B3-415A-A86A-B8F258C98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4839"/>
            <a:ext cx="11204448" cy="897971"/>
          </a:xfrm>
        </p:spPr>
        <p:txBody>
          <a:bodyPr/>
          <a:lstStyle/>
          <a:p>
            <a:r>
              <a:rPr lang="en-US" dirty="0"/>
              <a:t>Full Stack Solution : Cox + Partners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D04E02-B593-48E6-964F-9231B42A1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94498" y="6515709"/>
            <a:ext cx="3944940" cy="206216"/>
          </a:xfrm>
        </p:spPr>
        <p:txBody>
          <a:bodyPr/>
          <a:lstStyle/>
          <a:p>
            <a:r>
              <a:rPr lang="en-US"/>
              <a:t>Source: Arthur D. Little analysi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4D817C7-D862-41BB-9E5A-7AD7BD3CCEDF}"/>
              </a:ext>
            </a:extLst>
          </p:cNvPr>
          <p:cNvSpPr/>
          <p:nvPr/>
        </p:nvSpPr>
        <p:spPr>
          <a:xfrm>
            <a:off x="879852" y="4598724"/>
            <a:ext cx="1332078" cy="731520"/>
          </a:xfrm>
          <a:prstGeom prst="rect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accent2"/>
                </a:solidFill>
              </a:rPr>
              <a:t>RAN equipmen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9D8ABAD-AE89-4DCB-AB68-944DC2D19682}"/>
              </a:ext>
            </a:extLst>
          </p:cNvPr>
          <p:cNvSpPr/>
          <p:nvPr/>
        </p:nvSpPr>
        <p:spPr>
          <a:xfrm>
            <a:off x="2388792" y="2180198"/>
            <a:ext cx="1321237" cy="731520"/>
          </a:xfrm>
          <a:prstGeom prst="rect">
            <a:avLst/>
          </a:prstGeom>
          <a:solidFill>
            <a:schemeClr val="bg1"/>
          </a:solidFill>
          <a:ln w="19050">
            <a:solidFill>
              <a:srgbClr val="CD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accent2"/>
                </a:solidFill>
              </a:rPr>
              <a:t>Spectrum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308B63-CA52-4ACF-85DF-4407A5F2E3CE}"/>
              </a:ext>
            </a:extLst>
          </p:cNvPr>
          <p:cNvSpPr/>
          <p:nvPr/>
        </p:nvSpPr>
        <p:spPr>
          <a:xfrm>
            <a:off x="3825871" y="4610319"/>
            <a:ext cx="1361277" cy="731520"/>
          </a:xfrm>
          <a:prstGeom prst="rect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accent2"/>
                </a:solidFill>
              </a:rPr>
              <a:t>Network design &amp; deployment servic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66DA6B7-A069-4157-AA3B-2D9E09DBA142}"/>
              </a:ext>
            </a:extLst>
          </p:cNvPr>
          <p:cNvSpPr/>
          <p:nvPr/>
        </p:nvSpPr>
        <p:spPr>
          <a:xfrm>
            <a:off x="2376218" y="4612897"/>
            <a:ext cx="1321237" cy="731520"/>
          </a:xfrm>
          <a:prstGeom prst="rect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accent2"/>
                </a:solidFill>
              </a:rPr>
              <a:t>Mobile co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2EDCCA6-3E87-44B8-8F3F-BF76763CEB7B}"/>
              </a:ext>
            </a:extLst>
          </p:cNvPr>
          <p:cNvSpPr/>
          <p:nvPr/>
        </p:nvSpPr>
        <p:spPr>
          <a:xfrm>
            <a:off x="2388792" y="2956753"/>
            <a:ext cx="1321237" cy="731520"/>
          </a:xfrm>
          <a:prstGeom prst="rect">
            <a:avLst/>
          </a:prstGeom>
          <a:solidFill>
            <a:schemeClr val="bg1"/>
          </a:solidFill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accent2"/>
                </a:solidFill>
              </a:rPr>
              <a:t>Backhau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3B53BF-C268-409E-8857-AB641827C356}"/>
              </a:ext>
            </a:extLst>
          </p:cNvPr>
          <p:cNvSpPr/>
          <p:nvPr/>
        </p:nvSpPr>
        <p:spPr>
          <a:xfrm>
            <a:off x="6761209" y="3479167"/>
            <a:ext cx="3556312" cy="1563879"/>
          </a:xfrm>
          <a:prstGeom prst="rect">
            <a:avLst/>
          </a:prstGeom>
          <a:solidFill>
            <a:schemeClr val="bg1"/>
          </a:solidFill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accent2"/>
                </a:solidFill>
              </a:rPr>
              <a:t>Vertical / use case oriented devices and servic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767F0E-B76A-42D4-B4D8-06F0027A6DC5}"/>
              </a:ext>
            </a:extLst>
          </p:cNvPr>
          <p:cNvSpPr/>
          <p:nvPr/>
        </p:nvSpPr>
        <p:spPr>
          <a:xfrm>
            <a:off x="2388792" y="3741332"/>
            <a:ext cx="1321237" cy="731520"/>
          </a:xfrm>
          <a:prstGeom prst="rect">
            <a:avLst/>
          </a:prstGeom>
          <a:solidFill>
            <a:schemeClr val="bg1"/>
          </a:solidFill>
          <a:ln w="19050">
            <a:solidFill>
              <a:srgbClr val="CD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accent2"/>
                </a:solidFill>
              </a:rPr>
              <a:t>Public</a:t>
            </a:r>
          </a:p>
          <a:p>
            <a:pPr algn="ctr"/>
            <a:r>
              <a:rPr lang="en-US" sz="1000">
                <a:solidFill>
                  <a:schemeClr val="accent2"/>
                </a:solidFill>
              </a:rPr>
              <a:t>mobile network connectivity</a:t>
            </a:r>
          </a:p>
        </p:txBody>
      </p:sp>
      <p:sp>
        <p:nvSpPr>
          <p:cNvPr id="6" name="AutoShape 6">
            <a:extLst>
              <a:ext uri="{FF2B5EF4-FFF2-40B4-BE49-F238E27FC236}">
                <a16:creationId xmlns:a16="http://schemas.microsoft.com/office/drawing/2014/main" id="{36834FC9-05C4-4988-B636-975B763532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0470" y="1452638"/>
            <a:ext cx="1563691" cy="588977"/>
          </a:xfrm>
          <a:prstGeom prst="chevron">
            <a:avLst>
              <a:gd name="adj" fmla="val 27344"/>
            </a:avLst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45720" rIns="0" bIns="4572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>
                <a:solidFill>
                  <a:prstClr val="white"/>
                </a:solidFill>
              </a:rPr>
              <a:t>Network design and deployment </a:t>
            </a:r>
          </a:p>
        </p:txBody>
      </p:sp>
      <p:sp>
        <p:nvSpPr>
          <p:cNvPr id="7" name="AutoShape 6">
            <a:extLst>
              <a:ext uri="{FF2B5EF4-FFF2-40B4-BE49-F238E27FC236}">
                <a16:creationId xmlns:a16="http://schemas.microsoft.com/office/drawing/2014/main" id="{A5ABE43F-D41A-4F10-93DF-91FBDB00EC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1966" y="1452638"/>
            <a:ext cx="1563691" cy="588977"/>
          </a:xfrm>
          <a:prstGeom prst="chevron">
            <a:avLst>
              <a:gd name="adj" fmla="val 27344"/>
            </a:avLst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45720" rIns="0" bIns="4572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>
                <a:solidFill>
                  <a:prstClr val="white"/>
                </a:solidFill>
              </a:rPr>
              <a:t>Hardware / components</a:t>
            </a:r>
          </a:p>
        </p:txBody>
      </p:sp>
      <p:sp>
        <p:nvSpPr>
          <p:cNvPr id="8" name="AutoShape 6">
            <a:extLst>
              <a:ext uri="{FF2B5EF4-FFF2-40B4-BE49-F238E27FC236}">
                <a16:creationId xmlns:a16="http://schemas.microsoft.com/office/drawing/2014/main" id="{D60E16E8-18B6-488B-95AB-FCD1674712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6218" y="1452638"/>
            <a:ext cx="1563691" cy="588977"/>
          </a:xfrm>
          <a:prstGeom prst="chevron">
            <a:avLst>
              <a:gd name="adj" fmla="val 27344"/>
            </a:avLst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45720" rIns="0" bIns="4572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>
                <a:solidFill>
                  <a:prstClr val="white"/>
                </a:solidFill>
              </a:rPr>
              <a:t>Private / public comm. infra.</a:t>
            </a:r>
          </a:p>
        </p:txBody>
      </p:sp>
      <p:sp>
        <p:nvSpPr>
          <p:cNvPr id="9" name="AutoShape 6">
            <a:extLst>
              <a:ext uri="{FF2B5EF4-FFF2-40B4-BE49-F238E27FC236}">
                <a16:creationId xmlns:a16="http://schemas.microsoft.com/office/drawing/2014/main" id="{BA4CE868-2E90-40EE-8F86-D61CDDD6B1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04722" y="1452638"/>
            <a:ext cx="1563691" cy="588977"/>
          </a:xfrm>
          <a:prstGeom prst="chevron">
            <a:avLst>
              <a:gd name="adj" fmla="val 27344"/>
            </a:avLst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45720" rIns="0" bIns="4572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>
                <a:solidFill>
                  <a:prstClr val="white"/>
                </a:solidFill>
              </a:rPr>
              <a:t>Network operation</a:t>
            </a:r>
          </a:p>
        </p:txBody>
      </p:sp>
      <p:sp>
        <p:nvSpPr>
          <p:cNvPr id="10" name="AutoShape 6">
            <a:extLst>
              <a:ext uri="{FF2B5EF4-FFF2-40B4-BE49-F238E27FC236}">
                <a16:creationId xmlns:a16="http://schemas.microsoft.com/office/drawing/2014/main" id="{51BB5A6D-D789-4957-A509-DBAA65E2FF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8974" y="1452638"/>
            <a:ext cx="1303076" cy="588977"/>
          </a:xfrm>
          <a:prstGeom prst="chevron">
            <a:avLst>
              <a:gd name="adj" fmla="val 27344"/>
            </a:avLst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45720" rIns="0" bIns="4572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>
                <a:solidFill>
                  <a:prstClr val="white"/>
                </a:solidFill>
              </a:rPr>
              <a:t>Network services</a:t>
            </a:r>
          </a:p>
        </p:txBody>
      </p:sp>
      <p:sp>
        <p:nvSpPr>
          <p:cNvPr id="11" name="AutoShape 6">
            <a:extLst>
              <a:ext uri="{FF2B5EF4-FFF2-40B4-BE49-F238E27FC236}">
                <a16:creationId xmlns:a16="http://schemas.microsoft.com/office/drawing/2014/main" id="{8F475DF3-D433-490E-AF87-DE2F827A09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72611" y="1452638"/>
            <a:ext cx="1303076" cy="588977"/>
          </a:xfrm>
          <a:prstGeom prst="chevron">
            <a:avLst>
              <a:gd name="adj" fmla="val 27344"/>
            </a:avLst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45720" rIns="0" bIns="4572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>
                <a:solidFill>
                  <a:prstClr val="white"/>
                </a:solidFill>
              </a:rPr>
              <a:t>End user device</a:t>
            </a:r>
          </a:p>
        </p:txBody>
      </p:sp>
      <p:sp>
        <p:nvSpPr>
          <p:cNvPr id="12" name="AutoShape 6">
            <a:extLst>
              <a:ext uri="{FF2B5EF4-FFF2-40B4-BE49-F238E27FC236}">
                <a16:creationId xmlns:a16="http://schemas.microsoft.com/office/drawing/2014/main" id="{BD05FB25-9B59-427C-9B57-21D55E3CB2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76248" y="1452638"/>
            <a:ext cx="1303076" cy="588977"/>
          </a:xfrm>
          <a:prstGeom prst="chevron">
            <a:avLst>
              <a:gd name="adj" fmla="val 27344"/>
            </a:avLst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45720" rIns="0" bIns="4572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>
                <a:solidFill>
                  <a:prstClr val="white"/>
                </a:solidFill>
              </a:rPr>
              <a:t>OTT services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829574D-AEC7-4BCF-B46A-02A5E067B1F2}"/>
              </a:ext>
            </a:extLst>
          </p:cNvPr>
          <p:cNvCxnSpPr>
            <a:cxnSpLocks/>
          </p:cNvCxnSpPr>
          <p:nvPr/>
        </p:nvCxnSpPr>
        <p:spPr>
          <a:xfrm>
            <a:off x="911966" y="4521746"/>
            <a:ext cx="1103160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154B7070-4136-402B-B004-B2231D812C3B}"/>
              </a:ext>
            </a:extLst>
          </p:cNvPr>
          <p:cNvSpPr>
            <a:spLocks noChangeAspect="1"/>
          </p:cNvSpPr>
          <p:nvPr/>
        </p:nvSpPr>
        <p:spPr>
          <a:xfrm>
            <a:off x="879851" y="4598724"/>
            <a:ext cx="291314" cy="210108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/>
              <a:t>A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CAFB935-F99E-471F-B2EE-54D9073B76CD}"/>
              </a:ext>
            </a:extLst>
          </p:cNvPr>
          <p:cNvGrpSpPr/>
          <p:nvPr/>
        </p:nvGrpSpPr>
        <p:grpSpPr>
          <a:xfrm>
            <a:off x="5290115" y="4598724"/>
            <a:ext cx="1390728" cy="731520"/>
            <a:chOff x="3220669" y="2729846"/>
            <a:chExt cx="914400" cy="73152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AE6A5D0B-A4E8-4AFB-9758-BF78FF02AA0B}"/>
                </a:ext>
              </a:extLst>
            </p:cNvPr>
            <p:cNvSpPr/>
            <p:nvPr/>
          </p:nvSpPr>
          <p:spPr>
            <a:xfrm>
              <a:off x="3220669" y="2729846"/>
              <a:ext cx="914400" cy="731520"/>
            </a:xfrm>
            <a:prstGeom prst="rect">
              <a:avLst/>
            </a:prstGeom>
            <a:solidFill>
              <a:schemeClr val="bg1"/>
            </a:solidFill>
            <a:ln w="19050"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accent2"/>
                  </a:solidFill>
                </a:rPr>
                <a:t>SAS</a:t>
              </a:r>
              <a:endParaRPr lang="en-US" sz="1000" baseline="30000">
                <a:solidFill>
                  <a:schemeClr val="accent2"/>
                </a:solidFill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9ADB574-7477-47A8-8B4A-CB871731ADE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20669" y="2729846"/>
              <a:ext cx="182880" cy="182880"/>
            </a:xfrm>
            <a:prstGeom prst="rect">
              <a:avLst/>
            </a:prstGeom>
            <a:solidFill>
              <a:schemeClr val="accent2"/>
            </a:solidFill>
            <a:ln w="19050">
              <a:solidFill>
                <a:schemeClr val="accent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/>
                <a:t>H</a:t>
              </a:r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E1535892-727E-4E9A-83EE-12341D660625}"/>
              </a:ext>
            </a:extLst>
          </p:cNvPr>
          <p:cNvSpPr>
            <a:spLocks noChangeAspect="1"/>
          </p:cNvSpPr>
          <p:nvPr/>
        </p:nvSpPr>
        <p:spPr>
          <a:xfrm>
            <a:off x="2388792" y="2180198"/>
            <a:ext cx="291314" cy="210108"/>
          </a:xfrm>
          <a:prstGeom prst="rect">
            <a:avLst/>
          </a:prstGeom>
          <a:solidFill>
            <a:srgbClr val="FF0000"/>
          </a:solidFill>
          <a:ln w="19050"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B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A28AAE96-D680-47B5-A2D8-B9169F91FEC2}"/>
              </a:ext>
            </a:extLst>
          </p:cNvPr>
          <p:cNvSpPr>
            <a:spLocks noChangeAspect="1"/>
          </p:cNvSpPr>
          <p:nvPr/>
        </p:nvSpPr>
        <p:spPr>
          <a:xfrm>
            <a:off x="3825871" y="4610319"/>
            <a:ext cx="291314" cy="210108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F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A3E985F-6E92-41DC-B745-39B412B705C5}"/>
              </a:ext>
            </a:extLst>
          </p:cNvPr>
          <p:cNvSpPr/>
          <p:nvPr/>
        </p:nvSpPr>
        <p:spPr>
          <a:xfrm>
            <a:off x="5292094" y="2180198"/>
            <a:ext cx="1390728" cy="731520"/>
          </a:xfrm>
          <a:prstGeom prst="rect">
            <a:avLst/>
          </a:prstGeom>
          <a:solidFill>
            <a:schemeClr val="bg1"/>
          </a:solidFill>
          <a:ln w="19050">
            <a:solidFill>
              <a:srgbClr val="CD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accent2"/>
                </a:solidFill>
              </a:rPr>
              <a:t>Network operation service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BC654A4-0E56-40BF-8C14-83E9412FD3A5}"/>
              </a:ext>
            </a:extLst>
          </p:cNvPr>
          <p:cNvSpPr>
            <a:spLocks noChangeAspect="1"/>
          </p:cNvSpPr>
          <p:nvPr/>
        </p:nvSpPr>
        <p:spPr>
          <a:xfrm>
            <a:off x="6755347" y="3472659"/>
            <a:ext cx="377720" cy="232989"/>
          </a:xfrm>
          <a:prstGeom prst="rect">
            <a:avLst/>
          </a:prstGeom>
          <a:solidFill>
            <a:srgbClr val="FF0000"/>
          </a:solidFill>
          <a:ln w="19050"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/>
              <a:t>I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3EB21230-B451-4CCD-AB70-4F05FE97CB4B}"/>
              </a:ext>
            </a:extLst>
          </p:cNvPr>
          <p:cNvSpPr txBox="1"/>
          <p:nvPr/>
        </p:nvSpPr>
        <p:spPr>
          <a:xfrm>
            <a:off x="411678" y="744752"/>
            <a:ext cx="1178032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ox owns many key network capabilities and has a variety of partnerships to enable us to stitch together a complete end-to-end solution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DC7E79C-12F5-42AA-954A-4D784F2138A1}"/>
              </a:ext>
            </a:extLst>
          </p:cNvPr>
          <p:cNvSpPr/>
          <p:nvPr/>
        </p:nvSpPr>
        <p:spPr>
          <a:xfrm>
            <a:off x="411678" y="2180196"/>
            <a:ext cx="291314" cy="2234549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dirty="0"/>
              <a:t>Cox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3729E17-4A67-45E9-A5C8-632AEA1653D8}"/>
              </a:ext>
            </a:extLst>
          </p:cNvPr>
          <p:cNvSpPr/>
          <p:nvPr/>
        </p:nvSpPr>
        <p:spPr>
          <a:xfrm>
            <a:off x="411678" y="4598724"/>
            <a:ext cx="291314" cy="174895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Partners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92103AD-6470-4636-92DB-29F5D477E1EC}"/>
              </a:ext>
            </a:extLst>
          </p:cNvPr>
          <p:cNvSpPr>
            <a:spLocks noChangeAspect="1"/>
          </p:cNvSpPr>
          <p:nvPr/>
        </p:nvSpPr>
        <p:spPr>
          <a:xfrm>
            <a:off x="2388792" y="2975641"/>
            <a:ext cx="291314" cy="210108"/>
          </a:xfrm>
          <a:prstGeom prst="rect">
            <a:avLst/>
          </a:prstGeom>
          <a:solidFill>
            <a:srgbClr val="FF0000"/>
          </a:solidFill>
          <a:ln w="19050"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C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08273EE-9A80-4A20-A933-FDFDDA71A79B}"/>
              </a:ext>
            </a:extLst>
          </p:cNvPr>
          <p:cNvSpPr>
            <a:spLocks noChangeAspect="1"/>
          </p:cNvSpPr>
          <p:nvPr/>
        </p:nvSpPr>
        <p:spPr>
          <a:xfrm>
            <a:off x="2388792" y="3733912"/>
            <a:ext cx="291314" cy="210108"/>
          </a:xfrm>
          <a:prstGeom prst="rect">
            <a:avLst/>
          </a:prstGeom>
          <a:solidFill>
            <a:srgbClr val="FF0000"/>
          </a:solidFill>
          <a:ln w="19050"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D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ADDA8299-DDB2-48CC-BD1F-8DD61B498C26}"/>
              </a:ext>
            </a:extLst>
          </p:cNvPr>
          <p:cNvSpPr>
            <a:spLocks noChangeAspect="1"/>
          </p:cNvSpPr>
          <p:nvPr/>
        </p:nvSpPr>
        <p:spPr>
          <a:xfrm>
            <a:off x="2376218" y="4598724"/>
            <a:ext cx="291314" cy="210108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E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315A516-0AAF-4EA6-AA51-9A365C6A975C}"/>
              </a:ext>
            </a:extLst>
          </p:cNvPr>
          <p:cNvSpPr>
            <a:spLocks noChangeAspect="1"/>
          </p:cNvSpPr>
          <p:nvPr/>
        </p:nvSpPr>
        <p:spPr>
          <a:xfrm>
            <a:off x="5276947" y="2180198"/>
            <a:ext cx="291314" cy="210108"/>
          </a:xfrm>
          <a:prstGeom prst="rect">
            <a:avLst/>
          </a:prstGeom>
          <a:solidFill>
            <a:srgbClr val="FF0000"/>
          </a:solidFill>
          <a:ln w="19050">
            <a:solidFill>
              <a:srgbClr val="FC93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G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83010A3-2E29-4E40-8FA9-592454DF0F64}"/>
              </a:ext>
            </a:extLst>
          </p:cNvPr>
          <p:cNvSpPr>
            <a:spLocks noChangeAspect="1"/>
          </p:cNvSpPr>
          <p:nvPr/>
        </p:nvSpPr>
        <p:spPr>
          <a:xfrm>
            <a:off x="6999895" y="3473306"/>
            <a:ext cx="213537" cy="226478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1145354-E30F-4F44-B7B3-2BCD56EA9084}"/>
              </a:ext>
            </a:extLst>
          </p:cNvPr>
          <p:cNvCxnSpPr>
            <a:cxnSpLocks/>
          </p:cNvCxnSpPr>
          <p:nvPr/>
        </p:nvCxnSpPr>
        <p:spPr>
          <a:xfrm flipV="1">
            <a:off x="8520810" y="2253967"/>
            <a:ext cx="0" cy="10070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A7B7BCD9-7319-470E-9591-41835F6CAEDC}"/>
              </a:ext>
            </a:extLst>
          </p:cNvPr>
          <p:cNvCxnSpPr>
            <a:cxnSpLocks/>
          </p:cNvCxnSpPr>
          <p:nvPr/>
        </p:nvCxnSpPr>
        <p:spPr>
          <a:xfrm>
            <a:off x="8567403" y="5189936"/>
            <a:ext cx="0" cy="10361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C333174B-04E1-4FFF-8052-09B7AA2D8E9D}"/>
              </a:ext>
            </a:extLst>
          </p:cNvPr>
          <p:cNvSpPr txBox="1"/>
          <p:nvPr/>
        </p:nvSpPr>
        <p:spPr>
          <a:xfrm>
            <a:off x="6680843" y="3211239"/>
            <a:ext cx="24007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Depends on use case / customer need</a:t>
            </a:r>
          </a:p>
        </p:txBody>
      </p:sp>
      <p:pic>
        <p:nvPicPr>
          <p:cNvPr id="65" name="Picture 2" descr="Ericsson - Wikipedia">
            <a:extLst>
              <a:ext uri="{FF2B5EF4-FFF2-40B4-BE49-F238E27FC236}">
                <a16:creationId xmlns:a16="http://schemas.microsoft.com/office/drawing/2014/main" id="{A3D18A08-C5C4-4774-A817-D8345F0D0F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538" y="5472842"/>
            <a:ext cx="647501" cy="446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6" descr="Nokia logo and symbol, meaning, history, PNG">
            <a:extLst>
              <a:ext uri="{FF2B5EF4-FFF2-40B4-BE49-F238E27FC236}">
                <a16:creationId xmlns:a16="http://schemas.microsoft.com/office/drawing/2014/main" id="{EDA3341A-6188-4E02-99C4-00CE210CE3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7039" y="5472842"/>
            <a:ext cx="625193" cy="277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2" descr="JMA-New-logo - The RedTop Group">
            <a:extLst>
              <a:ext uri="{FF2B5EF4-FFF2-40B4-BE49-F238E27FC236}">
                <a16:creationId xmlns:a16="http://schemas.microsoft.com/office/drawing/2014/main" id="{EA7E5B66-BEAF-4A86-BBCE-12F859C96C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5891" y="5970923"/>
            <a:ext cx="515785" cy="27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2" descr="Ericsson - Wikipedia">
            <a:extLst>
              <a:ext uri="{FF2B5EF4-FFF2-40B4-BE49-F238E27FC236}">
                <a16:creationId xmlns:a16="http://schemas.microsoft.com/office/drawing/2014/main" id="{AE0E86CD-E6F0-40A7-8442-229815811F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4133" y="5472842"/>
            <a:ext cx="647501" cy="446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6" descr="Nokia logo and symbol, meaning, history, PNG">
            <a:extLst>
              <a:ext uri="{FF2B5EF4-FFF2-40B4-BE49-F238E27FC236}">
                <a16:creationId xmlns:a16="http://schemas.microsoft.com/office/drawing/2014/main" id="{7B40B94A-182E-4496-B56C-80848DC13B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1634" y="5472842"/>
            <a:ext cx="625193" cy="277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6" descr="AWS Marketplace: Athonet">
            <a:extLst>
              <a:ext uri="{FF2B5EF4-FFF2-40B4-BE49-F238E27FC236}">
                <a16:creationId xmlns:a16="http://schemas.microsoft.com/office/drawing/2014/main" id="{6C69C16B-203D-4DE8-BBBB-8B531DA198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0982" y="6048528"/>
            <a:ext cx="903249" cy="239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33B74EC0-4941-4A7C-9A63-2F710CCA2A2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40470" y="5430411"/>
            <a:ext cx="597469" cy="446681"/>
          </a:xfrm>
          <a:prstGeom prst="rect">
            <a:avLst/>
          </a:prstGeom>
        </p:spPr>
      </p:pic>
      <p:pic>
        <p:nvPicPr>
          <p:cNvPr id="72" name="Picture 4" descr="Connectivity Wireless Solutions - MobileNet Services">
            <a:extLst>
              <a:ext uri="{FF2B5EF4-FFF2-40B4-BE49-F238E27FC236}">
                <a16:creationId xmlns:a16="http://schemas.microsoft.com/office/drawing/2014/main" id="{16009137-643E-4288-8D31-5EF15246E2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2695" y="5769900"/>
            <a:ext cx="763361" cy="557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21" name="Picture 9" descr="CBRS webinar with Federated Wireless - Telrad Networks">
            <a:extLst>
              <a:ext uri="{FF2B5EF4-FFF2-40B4-BE49-F238E27FC236}">
                <a16:creationId xmlns:a16="http://schemas.microsoft.com/office/drawing/2014/main" id="{16D60D57-8971-45D2-B8E8-54F3A1729E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8292" y="5472842"/>
            <a:ext cx="710573" cy="335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23" name="Picture 11">
            <a:extLst>
              <a:ext uri="{FF2B5EF4-FFF2-40B4-BE49-F238E27FC236}">
                <a16:creationId xmlns:a16="http://schemas.microsoft.com/office/drawing/2014/main" id="{E55C018F-98F3-42D7-9A5A-281D20E6EC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1002" y="5764515"/>
            <a:ext cx="1012754" cy="562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8641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2FA7122-5470-4185-9EF4-509B09F19A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2FA7122-5470-4185-9EF4-509B09F19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1C07373-543F-4C4B-901F-A2A63E9E1F7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2CDC65-54B3-415A-A86A-B8F258C98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4839"/>
            <a:ext cx="11204448" cy="897971"/>
          </a:xfrm>
        </p:spPr>
        <p:txBody>
          <a:bodyPr/>
          <a:lstStyle/>
          <a:p>
            <a:r>
              <a:rPr lang="en-US" dirty="0"/>
              <a:t>Why Cox? : Cox Advantag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D04E02-B593-48E6-964F-9231B42A1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94498" y="6515709"/>
            <a:ext cx="3944940" cy="206216"/>
          </a:xfrm>
        </p:spPr>
        <p:txBody>
          <a:bodyPr/>
          <a:lstStyle/>
          <a:p>
            <a:r>
              <a:rPr lang="en-US"/>
              <a:t>Source: Arthur D. Little analysis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3EB21230-B451-4CCD-AB70-4F05FE97CB4B}"/>
              </a:ext>
            </a:extLst>
          </p:cNvPr>
          <p:cNvSpPr txBox="1"/>
          <p:nvPr/>
        </p:nvSpPr>
        <p:spPr>
          <a:xfrm>
            <a:off x="444929" y="744752"/>
            <a:ext cx="117803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ox has a number of inherent advantages over other Private Network providers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FBE483DA-B5CC-497C-9D61-2D436A21C34C}"/>
              </a:ext>
            </a:extLst>
          </p:cNvPr>
          <p:cNvGraphicFramePr>
            <a:graphicFrameLocks noGrp="1"/>
          </p:cNvGraphicFramePr>
          <p:nvPr/>
        </p:nvGraphicFramePr>
        <p:xfrm>
          <a:off x="1070123" y="1344225"/>
          <a:ext cx="10241280" cy="4572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20240">
                  <a:extLst>
                    <a:ext uri="{9D8B030D-6E8A-4147-A177-3AD203B41FA5}">
                      <a16:colId xmlns:a16="http://schemas.microsoft.com/office/drawing/2014/main" val="1127945492"/>
                    </a:ext>
                  </a:extLst>
                </a:gridCol>
                <a:gridCol w="3840480">
                  <a:extLst>
                    <a:ext uri="{9D8B030D-6E8A-4147-A177-3AD203B41FA5}">
                      <a16:colId xmlns:a16="http://schemas.microsoft.com/office/drawing/2014/main" val="2691229787"/>
                    </a:ext>
                  </a:extLst>
                </a:gridCol>
                <a:gridCol w="4480560">
                  <a:extLst>
                    <a:ext uri="{9D8B030D-6E8A-4147-A177-3AD203B41FA5}">
                      <a16:colId xmlns:a16="http://schemas.microsoft.com/office/drawing/2014/main" val="3217725121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Advantage: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E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Description: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E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Advantage: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A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8295361"/>
                  </a:ext>
                </a:extLst>
              </a:tr>
              <a:tr h="1005840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accent2"/>
                          </a:solidFill>
                        </a:rPr>
                        <a:t>PAL Licens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chemeClr val="accent2"/>
                          </a:solidFill>
                        </a:rPr>
                        <a:t>Cox owns at least 2 PAL licenses (20MHz+) in almost all of the counties in which it operat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chemeClr val="accent2"/>
                          </a:solidFill>
                        </a:rPr>
                        <a:t>Guarantees spectrum access and reliability; especially valuable for outdoor and/or mission-critical network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5679966"/>
                  </a:ext>
                </a:extLst>
              </a:tr>
              <a:tr h="1005840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accent2"/>
                          </a:solidFill>
                        </a:rPr>
                        <a:t>Fiber Network / Backhau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5888" marR="0" lvl="0" indent="-115888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5A93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ox owns a wireline fiber network in each of the markets in which it operat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5888" marR="0" lvl="0" indent="-115888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5A93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Allows Cox to provide end-to-end transport of data -- single provider for network management and problem resolu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0892761"/>
                  </a:ext>
                </a:extLst>
              </a:tr>
              <a:tr h="1005840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accent2"/>
                          </a:solidFill>
                        </a:rPr>
                        <a:t>Network Management Capabiliti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5888" marR="0" lvl="0" indent="-115888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5A93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ox has in-house network management resources + Cox NOC to enable a fully managed solu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5888" marR="0" lvl="0" indent="-115888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5A93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ox can deliver a tailored management solution (from ‘light-touch’ to ‘white-glove’) depending on customer nee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9288508"/>
                  </a:ext>
                </a:extLst>
              </a:tr>
              <a:tr h="1005840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accent2"/>
                          </a:solidFill>
                        </a:rPr>
                        <a:t>Broad Set of Solution Partn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5888" marR="0" lvl="0" indent="-115888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5A93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ox has built partnerships across the entire Private Networks ecosystem – from equipment providers to network design/deployment to vertical applicatio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5888" marR="0" lvl="0" indent="-115888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5A93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Allows Cox to be the single point of contact to stitch entire solution together for customer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1996274"/>
                  </a:ext>
                </a:extLst>
              </a:tr>
            </a:tbl>
          </a:graphicData>
        </a:graphic>
      </p:graphicFrame>
      <p:sp>
        <p:nvSpPr>
          <p:cNvPr id="7" name="Oval 6">
            <a:extLst>
              <a:ext uri="{FF2B5EF4-FFF2-40B4-BE49-F238E27FC236}">
                <a16:creationId xmlns:a16="http://schemas.microsoft.com/office/drawing/2014/main" id="{018F4A43-22A3-4F3F-98A2-75B5AD3B4CCE}"/>
              </a:ext>
            </a:extLst>
          </p:cNvPr>
          <p:cNvSpPr/>
          <p:nvPr/>
        </p:nvSpPr>
        <p:spPr>
          <a:xfrm>
            <a:off x="494253" y="2208414"/>
            <a:ext cx="386344" cy="360219"/>
          </a:xfrm>
          <a:prstGeom prst="ellipse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329B22A-7B9E-427D-9F77-A7B013E6C9DC}"/>
              </a:ext>
            </a:extLst>
          </p:cNvPr>
          <p:cNvSpPr/>
          <p:nvPr/>
        </p:nvSpPr>
        <p:spPr>
          <a:xfrm>
            <a:off x="494253" y="3178232"/>
            <a:ext cx="386344" cy="360219"/>
          </a:xfrm>
          <a:prstGeom prst="ellipse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EA1CD3BD-59BF-4632-80FA-D4ED5A6B7589}"/>
              </a:ext>
            </a:extLst>
          </p:cNvPr>
          <p:cNvSpPr/>
          <p:nvPr/>
        </p:nvSpPr>
        <p:spPr>
          <a:xfrm>
            <a:off x="494253" y="4148050"/>
            <a:ext cx="386344" cy="360219"/>
          </a:xfrm>
          <a:prstGeom prst="ellipse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07C9F4B-0034-457E-A07F-D9214E41B514}"/>
              </a:ext>
            </a:extLst>
          </p:cNvPr>
          <p:cNvSpPr/>
          <p:nvPr/>
        </p:nvSpPr>
        <p:spPr>
          <a:xfrm>
            <a:off x="494253" y="5217620"/>
            <a:ext cx="386344" cy="360219"/>
          </a:xfrm>
          <a:prstGeom prst="ellipse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632667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3" name="Title 2"/>
          <p:cNvSpPr txBox="1">
            <a:spLocks noGrp="1"/>
          </p:cNvSpPr>
          <p:nvPr>
            <p:ph type="title"/>
          </p:nvPr>
        </p:nvSpPr>
        <p:spPr>
          <a:xfrm>
            <a:off x="717" y="2308249"/>
            <a:ext cx="12190566" cy="2241502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  <a:defRPr>
                <a:latin typeface="Arial"/>
                <a:ea typeface="Arial"/>
                <a:cs typeface="Arial"/>
                <a:sym typeface="Arial"/>
              </a:defRPr>
            </a:pPr>
            <a:r>
              <a:rPr sz="5400" b="1"/>
              <a:t>Smart Communities </a:t>
            </a:r>
            <a:r>
              <a:rPr lang="en-US" sz="5400" b="1"/>
              <a:t>Solutions</a:t>
            </a:r>
            <a:endParaRPr sz="5400" b="1"/>
          </a:p>
        </p:txBody>
      </p:sp>
      <p:pic>
        <p:nvPicPr>
          <p:cNvPr id="4" name="Picture 8" descr="Picture 8">
            <a:extLst>
              <a:ext uri="{FF2B5EF4-FFF2-40B4-BE49-F238E27FC236}">
                <a16:creationId xmlns:a16="http://schemas.microsoft.com/office/drawing/2014/main" id="{18E694BB-13AD-4DDF-9C4C-8E277E31542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4856" y="6241732"/>
            <a:ext cx="1910197" cy="368889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74316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94D2E80-84F7-1845-B210-AB52B1ABE77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048" t="9686" r="27219"/>
          <a:stretch/>
        </p:blipFill>
        <p:spPr>
          <a:xfrm flipH="1">
            <a:off x="-51516" y="0"/>
            <a:ext cx="3044952" cy="6858000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4B5FB846-997A-754F-88F6-67EA098A4CB1}"/>
              </a:ext>
            </a:extLst>
          </p:cNvPr>
          <p:cNvSpPr txBox="1">
            <a:spLocks/>
          </p:cNvSpPr>
          <p:nvPr/>
        </p:nvSpPr>
        <p:spPr>
          <a:xfrm>
            <a:off x="3352800" y="457200"/>
            <a:ext cx="5029200" cy="46628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t" anchorCtr="0">
            <a:spAutoFit/>
          </a:bodyPr>
          <a:lstStyle>
            <a:lvl1pPr marL="0" marR="0" indent="0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113E76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2pPr>
            <a:lvl3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3pPr>
            <a:lvl4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4pPr>
            <a:lvl5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5pPr>
            <a:lvl6pPr marL="0" marR="0" indent="228593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6pPr>
            <a:lvl7pPr marL="0" marR="0" indent="457189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7pPr>
            <a:lvl8pPr marL="0" marR="0" indent="685782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8pPr>
            <a:lvl9pPr marL="0" marR="0" indent="914377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9pPr>
          </a:lstStyle>
          <a:p>
            <a:pPr marL="0" marR="0" lvl="0" indent="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Pro" pitchFamily="2" charset="0"/>
                <a:cs typeface="Arial"/>
                <a:sym typeface="Arial"/>
              </a:rPr>
              <a:t>COMMUNITY CHALLENGES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 pitchFamily="2" charset="0"/>
                <a:cs typeface="Arial"/>
                <a:sym typeface="Arial"/>
              </a:rPr>
              <a:t>Ensuring public safety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 pitchFamily="2" charset="0"/>
                <a:cs typeface="Arial"/>
                <a:sym typeface="Arial"/>
              </a:rPr>
              <a:t>Containing electricity costs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 pitchFamily="2" charset="0"/>
                <a:cs typeface="Arial"/>
                <a:sym typeface="Arial"/>
              </a:rPr>
              <a:t>Maximizing asset value for other city services </a:t>
            </a:r>
          </a:p>
          <a:p>
            <a:pPr marL="0" marR="0" lvl="0" indent="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  <a:p>
            <a:pPr marL="0" marR="0" lvl="0" indent="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Pro" pitchFamily="2" charset="0"/>
                <a:cs typeface="Arial"/>
                <a:sym typeface="Arial"/>
              </a:rPr>
              <a:t>SMART COMMUNITIES SOLUTIONS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/>
                <a:cs typeface="Arial"/>
                <a:sym typeface="Arial"/>
              </a:rPr>
              <a:t>Light housings to support sensors for traffic, weather, air quality and more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/>
                <a:cs typeface="Arial"/>
                <a:sym typeface="Arial"/>
              </a:rPr>
              <a:t>Motion-sensor or network-controlled light activation to provide advantageous electricity pricing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/>
                <a:cs typeface="Arial"/>
                <a:sym typeface="Arial"/>
              </a:rPr>
              <a:t>Electric vehicle (EV) charging station hosting to utilize light pole and power source</a:t>
            </a:r>
          </a:p>
          <a:p>
            <a:pPr marL="0" marR="0" lvl="0" indent="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4949598B-D14B-6243-AC93-C60E2E32E616}"/>
              </a:ext>
            </a:extLst>
          </p:cNvPr>
          <p:cNvSpPr txBox="1">
            <a:spLocks/>
          </p:cNvSpPr>
          <p:nvPr/>
        </p:nvSpPr>
        <p:spPr>
          <a:xfrm>
            <a:off x="8988552" y="457200"/>
            <a:ext cx="2743200" cy="35240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t" anchorCtr="0">
            <a:spAutoFit/>
          </a:bodyPr>
          <a:lstStyle>
            <a:lvl1pPr marL="0" marR="0" indent="0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113E76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2pPr>
            <a:lvl3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3pPr>
            <a:lvl4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4pPr>
            <a:lvl5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5pPr>
            <a:lvl6pPr marL="0" marR="0" indent="228593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6pPr>
            <a:lvl7pPr marL="0" marR="0" indent="457189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7pPr>
            <a:lvl8pPr marL="0" marR="0" indent="685782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8pPr>
            <a:lvl9pPr marL="0" marR="0" indent="914377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9pPr>
          </a:lstStyle>
          <a:p>
            <a:pPr marL="0" marR="0" lvl="6" indent="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Pro" pitchFamily="2" charset="0"/>
                <a:ea typeface="+mn-ea"/>
                <a:cs typeface="Arial"/>
                <a:sym typeface="Arial"/>
              </a:rPr>
              <a:t>DATA USE CASES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 pitchFamily="2" charset="0"/>
                <a:cs typeface="Arial"/>
                <a:sym typeface="Arial"/>
              </a:rPr>
              <a:t>Pedestrian and vehicle traffic, parking, weather and air quality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 pitchFamily="2" charset="0"/>
                <a:cs typeface="Arial"/>
                <a:sym typeface="Arial"/>
              </a:rPr>
              <a:t>Metrics for ROI calculation and future planning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 pitchFamily="2" charset="0"/>
                <a:cs typeface="Arial"/>
                <a:sym typeface="Arial"/>
              </a:rPr>
              <a:t>First responders and law enforcement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 pitchFamily="2" charset="0"/>
                <a:cs typeface="Arial"/>
                <a:sym typeface="Arial"/>
              </a:rPr>
              <a:t>Tourist information and routes  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" pitchFamily="2" charset="0"/>
              <a:cs typeface="Arial"/>
              <a:sym typeface="Arial"/>
            </a:endParaRP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F71F13DD-003C-174F-A6E8-0DFB64C3A2E0}"/>
              </a:ext>
            </a:extLst>
          </p:cNvPr>
          <p:cNvSpPr txBox="1">
            <a:spLocks/>
          </p:cNvSpPr>
          <p:nvPr/>
        </p:nvSpPr>
        <p:spPr>
          <a:xfrm>
            <a:off x="-32799" y="2233969"/>
            <a:ext cx="3044952" cy="61555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1pPr>
            <a:lvl2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2pPr>
            <a:lvl3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3pPr>
            <a:lvl4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4pPr>
            <a:lvl5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5pPr>
            <a:lvl6pPr marL="0" marR="0" indent="228593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6pPr>
            <a:lvl7pPr marL="0" marR="0" indent="457189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7pPr>
            <a:lvl8pPr marL="0" marR="0" indent="685782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8pPr>
            <a:lvl9pPr marL="0" marR="0" indent="914377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Pro" pitchFamily="2" charset="0"/>
                <a:ea typeface="+mn-ea"/>
                <a:cs typeface="+mn-cs"/>
                <a:sym typeface="Helvetica"/>
              </a:rPr>
              <a:t>LIGHTING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1374405-A6E1-D849-9256-A12041063F90}"/>
              </a:ext>
            </a:extLst>
          </p:cNvPr>
          <p:cNvSpPr>
            <a:spLocks noChangeAspect="1"/>
          </p:cNvSpPr>
          <p:nvPr/>
        </p:nvSpPr>
        <p:spPr>
          <a:xfrm>
            <a:off x="575277" y="228600"/>
            <a:ext cx="1828800" cy="1828800"/>
          </a:xfrm>
          <a:prstGeom prst="ellipse">
            <a:avLst/>
          </a:prstGeom>
          <a:solidFill>
            <a:srgbClr val="FFFFFF"/>
          </a:solidFill>
          <a:ln w="5715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  <a:sym typeface="Calibri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AD0BB63-D9B5-5F4E-9871-56CAEBE5ABE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5160" y="591295"/>
            <a:ext cx="1371600" cy="110341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35A24FF-4567-B84C-968B-C7E5B1B95E59}"/>
              </a:ext>
            </a:extLst>
          </p:cNvPr>
          <p:cNvCxnSpPr>
            <a:cxnSpLocks/>
          </p:cNvCxnSpPr>
          <p:nvPr/>
        </p:nvCxnSpPr>
        <p:spPr>
          <a:xfrm>
            <a:off x="3352800" y="2209585"/>
            <a:ext cx="5029200" cy="0"/>
          </a:xfrm>
          <a:prstGeom prst="line">
            <a:avLst/>
          </a:prstGeom>
          <a:noFill/>
          <a:ln w="25400" cap="flat">
            <a:solidFill>
              <a:schemeClr val="bg1">
                <a:alpha val="40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8F93DBA-1ADF-8A44-BD86-269E8410BD7B}"/>
              </a:ext>
            </a:extLst>
          </p:cNvPr>
          <p:cNvCxnSpPr>
            <a:cxnSpLocks/>
          </p:cNvCxnSpPr>
          <p:nvPr/>
        </p:nvCxnSpPr>
        <p:spPr>
          <a:xfrm>
            <a:off x="8778240" y="457200"/>
            <a:ext cx="0" cy="5486400"/>
          </a:xfrm>
          <a:prstGeom prst="line">
            <a:avLst/>
          </a:prstGeom>
          <a:noFill/>
          <a:ln w="25400" cap="flat">
            <a:solidFill>
              <a:schemeClr val="bg1">
                <a:alpha val="40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292006413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car, table, sitting, blue&#10;&#10;Description automatically generated">
            <a:extLst>
              <a:ext uri="{FF2B5EF4-FFF2-40B4-BE49-F238E27FC236}">
                <a16:creationId xmlns:a16="http://schemas.microsoft.com/office/drawing/2014/main" id="{87237D32-53B2-BD4B-BF36-1B3B758F1F7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0410" r="-1" b="10410"/>
          <a:stretch/>
        </p:blipFill>
        <p:spPr>
          <a:xfrm rot="16200000" flipV="1">
            <a:off x="-1901952" y="1911095"/>
            <a:ext cx="6858000" cy="3044952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4B5FB846-997A-754F-88F6-67EA098A4CB1}"/>
              </a:ext>
            </a:extLst>
          </p:cNvPr>
          <p:cNvSpPr txBox="1">
            <a:spLocks/>
          </p:cNvSpPr>
          <p:nvPr/>
        </p:nvSpPr>
        <p:spPr>
          <a:xfrm>
            <a:off x="3352800" y="436433"/>
            <a:ext cx="5029200" cy="5709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t" anchorCtr="0">
            <a:spAutoFit/>
          </a:bodyPr>
          <a:lstStyle>
            <a:lvl1pPr marL="0" marR="0" indent="0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113E76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2pPr>
            <a:lvl3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3pPr>
            <a:lvl4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4pPr>
            <a:lvl5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5pPr>
            <a:lvl6pPr marL="0" marR="0" indent="228593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6pPr>
            <a:lvl7pPr marL="0" marR="0" indent="457189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7pPr>
            <a:lvl8pPr marL="0" marR="0" indent="685782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8pPr>
            <a:lvl9pPr marL="0" marR="0" indent="914377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9pPr>
          </a:lstStyle>
          <a:p>
            <a:pPr marL="0" marR="0" lvl="0" indent="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Pro" pitchFamily="2" charset="0"/>
                <a:cs typeface="Arial"/>
                <a:sym typeface="Arial"/>
              </a:rPr>
              <a:t>COMMUNITY CHALLENGES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/>
                <a:cs typeface="Arial"/>
                <a:sym typeface="Arial"/>
              </a:rPr>
              <a:t>Controlling costs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PRO-LIGHT" pitchFamily="2" charset="0"/>
              <a:cs typeface="Arial"/>
              <a:sym typeface="Arial"/>
            </a:endParaRP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 pitchFamily="2" charset="0"/>
                <a:cs typeface="Arial"/>
                <a:sym typeface="Arial"/>
              </a:rPr>
              <a:t>Reducing congestion in high traffic areas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/>
                <a:cs typeface="Arial"/>
                <a:sym typeface="Arial"/>
              </a:rPr>
              <a:t>Assisting motorists who forget parking location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 pitchFamily="2" charset="0"/>
                <a:cs typeface="Arial"/>
                <a:sym typeface="Arial"/>
              </a:rPr>
              <a:t>Monitoring parking availability and compliance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 pitchFamily="2" charset="0"/>
                <a:cs typeface="Arial"/>
                <a:sym typeface="Arial"/>
              </a:rPr>
              <a:t>Right-sizing roadways and parking facilities</a:t>
            </a:r>
          </a:p>
          <a:p>
            <a:pPr marL="0" marR="0" lvl="0" indent="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  <a:p>
            <a:pPr marL="0" marR="0" lvl="0" indent="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Pro" pitchFamily="2" charset="0"/>
                <a:cs typeface="Arial"/>
                <a:sym typeface="Arial"/>
              </a:rPr>
              <a:t>SMART COMMUNITIES SOLUTIONS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/>
                <a:cs typeface="Arial"/>
                <a:sym typeface="Arial"/>
              </a:rPr>
              <a:t>Kiosk-housed cameras, sensors and signage for monitoring traffic, gathering data and communicating with the public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 pitchFamily="2" charset="0"/>
                <a:cs typeface="Arial"/>
                <a:sym typeface="Arial"/>
              </a:rPr>
              <a:t>Data analytics for strategic planning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/>
                <a:cs typeface="Arial"/>
                <a:sym typeface="Arial"/>
              </a:rPr>
              <a:t>Cameras on light poles for monitoring congestion,  manipulating light sequencing and improving flow</a:t>
            </a:r>
          </a:p>
          <a:p>
            <a:pPr marL="0" marR="0" lvl="0" indent="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4949598B-D14B-6243-AC93-C60E2E32E616}"/>
              </a:ext>
            </a:extLst>
          </p:cNvPr>
          <p:cNvSpPr txBox="1">
            <a:spLocks/>
          </p:cNvSpPr>
          <p:nvPr/>
        </p:nvSpPr>
        <p:spPr>
          <a:xfrm>
            <a:off x="8988552" y="436433"/>
            <a:ext cx="2743200" cy="32162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t" anchorCtr="0">
            <a:spAutoFit/>
          </a:bodyPr>
          <a:lstStyle>
            <a:lvl1pPr marL="0" marR="0" indent="0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113E76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2pPr>
            <a:lvl3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3pPr>
            <a:lvl4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4pPr>
            <a:lvl5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5pPr>
            <a:lvl6pPr marL="0" marR="0" indent="228593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6pPr>
            <a:lvl7pPr marL="0" marR="0" indent="457189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7pPr>
            <a:lvl8pPr marL="0" marR="0" indent="685782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8pPr>
            <a:lvl9pPr marL="0" marR="0" indent="914377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9pPr>
          </a:lstStyle>
          <a:p>
            <a:pPr marL="0" marR="0" lvl="6" indent="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Pro" pitchFamily="2" charset="0"/>
                <a:ea typeface="Arial"/>
                <a:cs typeface="Arial"/>
                <a:sym typeface="Arial"/>
              </a:rPr>
              <a:t>DATA USE CASES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/>
                <a:cs typeface="Arial"/>
                <a:sym typeface="Arial"/>
              </a:rPr>
              <a:t>Tracking pedestrian and vehicle traffic flow for planning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/>
                <a:cs typeface="Arial"/>
                <a:sym typeface="Arial"/>
              </a:rPr>
              <a:t>Monitoring dwell time for vehicles at curbside or other strategic locations for congestion relief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/>
                <a:cs typeface="Arial"/>
                <a:sym typeface="Arial"/>
              </a:rPr>
              <a:t>Tracking direction of pedestrian or vehicle travel for planning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F71F13DD-003C-174F-A6E8-0DFB64C3A2E0}"/>
              </a:ext>
            </a:extLst>
          </p:cNvPr>
          <p:cNvSpPr txBox="1">
            <a:spLocks/>
          </p:cNvSpPr>
          <p:nvPr/>
        </p:nvSpPr>
        <p:spPr>
          <a:xfrm>
            <a:off x="-32799" y="2233969"/>
            <a:ext cx="3044952" cy="61555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1pPr>
            <a:lvl2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2pPr>
            <a:lvl3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3pPr>
            <a:lvl4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4pPr>
            <a:lvl5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5pPr>
            <a:lvl6pPr marL="0" marR="0" indent="228593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6pPr>
            <a:lvl7pPr marL="0" marR="0" indent="457189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7pPr>
            <a:lvl8pPr marL="0" marR="0" indent="685782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8pPr>
            <a:lvl9pPr marL="0" marR="0" indent="914377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0" algn="ctr" rotWithShape="0">
                    <a:prstClr val="black">
                      <a:alpha val="70000"/>
                    </a:prstClr>
                  </a:outerShdw>
                </a:effectLst>
                <a:uLnTx/>
                <a:uFillTx/>
                <a:latin typeface="Cera Pro" pitchFamily="2" charset="0"/>
                <a:ea typeface="+mn-ea"/>
                <a:cs typeface="+mn-cs"/>
                <a:sym typeface="Helvetica"/>
              </a:rPr>
              <a:t>TRAFFIC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1374405-A6E1-D849-9256-A12041063F90}"/>
              </a:ext>
            </a:extLst>
          </p:cNvPr>
          <p:cNvSpPr>
            <a:spLocks noChangeAspect="1"/>
          </p:cNvSpPr>
          <p:nvPr/>
        </p:nvSpPr>
        <p:spPr>
          <a:xfrm>
            <a:off x="575277" y="228600"/>
            <a:ext cx="1828800" cy="1828800"/>
          </a:xfrm>
          <a:prstGeom prst="ellipse">
            <a:avLst/>
          </a:prstGeom>
          <a:solidFill>
            <a:srgbClr val="FFFFFF"/>
          </a:solidFill>
          <a:ln w="5715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  <a:sym typeface="Calibri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AD0BB63-D9B5-5F4E-9871-56CAEBE5ABE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2269" y="409074"/>
            <a:ext cx="954815" cy="137160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8FB121B-2725-394B-97EE-57176A667B1B}"/>
              </a:ext>
            </a:extLst>
          </p:cNvPr>
          <p:cNvCxnSpPr>
            <a:cxnSpLocks/>
          </p:cNvCxnSpPr>
          <p:nvPr/>
        </p:nvCxnSpPr>
        <p:spPr>
          <a:xfrm>
            <a:off x="3352800" y="2976294"/>
            <a:ext cx="5029200" cy="0"/>
          </a:xfrm>
          <a:prstGeom prst="line">
            <a:avLst/>
          </a:prstGeom>
          <a:noFill/>
          <a:ln w="25400" cap="flat">
            <a:solidFill>
              <a:schemeClr val="bg1">
                <a:alpha val="40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A93CFD6-91D5-F242-86E5-B1FA801E9E97}"/>
              </a:ext>
            </a:extLst>
          </p:cNvPr>
          <p:cNvCxnSpPr>
            <a:cxnSpLocks/>
          </p:cNvCxnSpPr>
          <p:nvPr/>
        </p:nvCxnSpPr>
        <p:spPr>
          <a:xfrm>
            <a:off x="8778240" y="457200"/>
            <a:ext cx="0" cy="5715000"/>
          </a:xfrm>
          <a:prstGeom prst="line">
            <a:avLst/>
          </a:prstGeom>
          <a:noFill/>
          <a:ln w="25400" cap="flat">
            <a:solidFill>
              <a:schemeClr val="bg1">
                <a:alpha val="40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82694212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298FFDD5-99E9-114B-8D53-A22131CA4C8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70" r="50000"/>
          <a:stretch/>
        </p:blipFill>
        <p:spPr>
          <a:xfrm>
            <a:off x="0" y="-1"/>
            <a:ext cx="3044951" cy="6856831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4B5FB846-997A-754F-88F6-67EA098A4CB1}"/>
              </a:ext>
            </a:extLst>
          </p:cNvPr>
          <p:cNvSpPr txBox="1">
            <a:spLocks/>
          </p:cNvSpPr>
          <p:nvPr/>
        </p:nvSpPr>
        <p:spPr>
          <a:xfrm>
            <a:off x="3352800" y="436433"/>
            <a:ext cx="5029200" cy="47551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 anchorCtr="0">
            <a:spAutoFit/>
          </a:bodyPr>
          <a:lstStyle>
            <a:lvl1pPr marL="0" marR="0" indent="0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113E76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2pPr>
            <a:lvl3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3pPr>
            <a:lvl4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4pPr>
            <a:lvl5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5pPr>
            <a:lvl6pPr marL="0" marR="0" indent="228593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6pPr>
            <a:lvl7pPr marL="0" marR="0" indent="457189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7pPr>
            <a:lvl8pPr marL="0" marR="0" indent="685782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8pPr>
            <a:lvl9pPr marL="0" marR="0" indent="914377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9pPr>
          </a:lstStyle>
          <a:p>
            <a:pPr marL="0" marR="0" lvl="0" indent="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Pro" pitchFamily="2" charset="0"/>
                <a:cs typeface="Arial"/>
                <a:sym typeface="Arial"/>
              </a:rPr>
              <a:t>COMMUNITY CHALLENGES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 pitchFamily="2" charset="0"/>
                <a:cs typeface="Arial"/>
                <a:sym typeface="Arial"/>
              </a:rPr>
              <a:t>Cost-effective monitoring of public spaces for unsafe activity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 pitchFamily="2" charset="0"/>
                <a:cs typeface="Arial"/>
                <a:sym typeface="Arial"/>
              </a:rPr>
              <a:t>Rapid response to unsafe situations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 pitchFamily="2" charset="0"/>
                <a:cs typeface="Arial"/>
                <a:sym typeface="Arial"/>
              </a:rPr>
              <a:t>Understanding trends associated with traffic and pedestrian travel, crowds and activities for right-sizing public safety staffing and deployment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  <a:p>
            <a:pPr marL="0" marR="0" lvl="0" indent="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Pro" pitchFamily="2" charset="0"/>
                <a:cs typeface="Arial"/>
                <a:sym typeface="Arial"/>
              </a:rPr>
              <a:t>SMART COMMUNITIES SOLUTIONS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 pitchFamily="2" charset="0"/>
                <a:cs typeface="Arial"/>
                <a:sym typeface="Arial"/>
              </a:rPr>
              <a:t>Traffic monitoring to measure flow, record license plates and detect violations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 pitchFamily="2" charset="0"/>
                <a:cs typeface="Arial"/>
                <a:sym typeface="Arial"/>
              </a:rPr>
              <a:t>Video to capture crime in progress or deter crime if lawbreakers anticipate being recorded</a:t>
            </a:r>
          </a:p>
          <a:p>
            <a:pPr marL="0" marR="0" lvl="0" indent="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4949598B-D14B-6243-AC93-C60E2E32E616}"/>
              </a:ext>
            </a:extLst>
          </p:cNvPr>
          <p:cNvSpPr txBox="1">
            <a:spLocks/>
          </p:cNvSpPr>
          <p:nvPr/>
        </p:nvSpPr>
        <p:spPr>
          <a:xfrm>
            <a:off x="8988552" y="436433"/>
            <a:ext cx="2743200" cy="27238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t" anchorCtr="0">
            <a:spAutoFit/>
          </a:bodyPr>
          <a:lstStyle>
            <a:lvl1pPr marL="0" marR="0" indent="0" algn="l" defTabSz="914377" rtl="0" latinLnBrk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113E76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2pPr>
            <a:lvl3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3pPr>
            <a:lvl4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4pPr>
            <a:lvl5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5pPr>
            <a:lvl6pPr marL="0" marR="0" indent="228593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6pPr>
            <a:lvl7pPr marL="0" marR="0" indent="457189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7pPr>
            <a:lvl8pPr marL="0" marR="0" indent="685782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8pPr>
            <a:lvl9pPr marL="0" marR="0" indent="914377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9pPr>
          </a:lstStyle>
          <a:p>
            <a:pPr marL="0" marR="0" lvl="6" indent="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Pro" pitchFamily="2" charset="0"/>
                <a:ea typeface="Arial"/>
                <a:cs typeface="Arial"/>
                <a:sym typeface="Arial"/>
              </a:rPr>
              <a:t>DATA USE CASES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 pitchFamily="2" charset="0"/>
                <a:cs typeface="Arial"/>
                <a:sym typeface="Arial"/>
              </a:rPr>
              <a:t>Security data for access control and crime prevention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 pitchFamily="2" charset="0"/>
                <a:cs typeface="Arial"/>
                <a:sym typeface="Arial"/>
              </a:rPr>
              <a:t>Retail data for staffing and advertising</a:t>
            </a:r>
          </a:p>
          <a:p>
            <a:pPr marL="228600" marR="0" lvl="0" indent="-22860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PRO-LIGHT" pitchFamily="2" charset="0"/>
                <a:cs typeface="Arial"/>
                <a:sym typeface="Arial"/>
              </a:rPr>
              <a:t>Traffic data for traffic/parking control and predictive analytics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F71F13DD-003C-174F-A6E8-0DFB64C3A2E0}"/>
              </a:ext>
            </a:extLst>
          </p:cNvPr>
          <p:cNvSpPr txBox="1">
            <a:spLocks/>
          </p:cNvSpPr>
          <p:nvPr/>
        </p:nvSpPr>
        <p:spPr>
          <a:xfrm>
            <a:off x="-1" y="2233969"/>
            <a:ext cx="3044951" cy="1138773"/>
          </a:xfrm>
          <a:prstGeom prst="rect">
            <a:avLst/>
          </a:prstGeom>
        </p:spPr>
        <p:txBody>
          <a:bodyPr wrap="square" lIns="91440" tIns="45720" rIns="91440" bIns="45720" anchor="t" anchorCtr="0">
            <a:spAutoFit/>
          </a:bodyPr>
          <a:lstStyle>
            <a:lvl1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1pPr>
            <a:lvl2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2pPr>
            <a:lvl3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3pPr>
            <a:lvl4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4pPr>
            <a:lvl5pPr marL="0" marR="0" indent="0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5pPr>
            <a:lvl6pPr marL="0" marR="0" indent="228593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6pPr>
            <a:lvl7pPr marL="0" marR="0" indent="457189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7pPr>
            <a:lvl8pPr marL="0" marR="0" indent="685782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8pPr>
            <a:lvl9pPr marL="0" marR="0" indent="914377" algn="ctr" defTabSz="914377" rtl="0" latinLnBrk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="0" i="0" u="none" strike="noStrike" cap="none" spc="0" baseline="0"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0" algn="ctr" rotWithShape="0">
                    <a:prstClr val="black">
                      <a:alpha val="70000"/>
                    </a:prstClr>
                  </a:outerShdw>
                </a:effectLst>
                <a:uLnTx/>
                <a:uFillTx/>
                <a:latin typeface="Cera Pro"/>
                <a:ea typeface="+mn-ea"/>
                <a:cs typeface="+mn-cs"/>
                <a:sym typeface="Helvetica"/>
              </a:rPr>
              <a:t>VIDEO ANALYTICS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1374405-A6E1-D849-9256-A12041063F90}"/>
              </a:ext>
            </a:extLst>
          </p:cNvPr>
          <p:cNvSpPr>
            <a:spLocks noChangeAspect="1"/>
          </p:cNvSpPr>
          <p:nvPr/>
        </p:nvSpPr>
        <p:spPr>
          <a:xfrm>
            <a:off x="575277" y="228600"/>
            <a:ext cx="1828800" cy="1828800"/>
          </a:xfrm>
          <a:prstGeom prst="ellipse">
            <a:avLst/>
          </a:prstGeom>
          <a:solidFill>
            <a:srgbClr val="FFFFFF"/>
          </a:solidFill>
          <a:ln w="5715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  <a:sym typeface="Calibri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1D81586-8664-C34F-A7E2-7D60A598F12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3872" y="594360"/>
            <a:ext cx="957203" cy="109728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3C0084E-BBFE-634E-984A-C63B1DCE191C}"/>
              </a:ext>
            </a:extLst>
          </p:cNvPr>
          <p:cNvCxnSpPr>
            <a:cxnSpLocks/>
          </p:cNvCxnSpPr>
          <p:nvPr/>
        </p:nvCxnSpPr>
        <p:spPr>
          <a:xfrm>
            <a:off x="8778240" y="457200"/>
            <a:ext cx="0" cy="5715000"/>
          </a:xfrm>
          <a:prstGeom prst="line">
            <a:avLst/>
          </a:prstGeom>
          <a:noFill/>
          <a:ln w="25400" cap="flat">
            <a:solidFill>
              <a:schemeClr val="bg1">
                <a:alpha val="40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8957DB2-E1B1-A64F-B161-50AD1081816F}"/>
              </a:ext>
            </a:extLst>
          </p:cNvPr>
          <p:cNvCxnSpPr>
            <a:cxnSpLocks/>
          </p:cNvCxnSpPr>
          <p:nvPr/>
        </p:nvCxnSpPr>
        <p:spPr>
          <a:xfrm>
            <a:off x="3352800" y="2905523"/>
            <a:ext cx="5029200" cy="0"/>
          </a:xfrm>
          <a:prstGeom prst="line">
            <a:avLst/>
          </a:prstGeom>
          <a:noFill/>
          <a:ln w="25400" cap="flat">
            <a:solidFill>
              <a:schemeClr val="bg1">
                <a:alpha val="40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840189628"/>
      </p:ext>
    </p:extLst>
  </p:cSld>
  <p:clrMapOvr>
    <a:masterClrMapping/>
  </p:clrMapOvr>
  <p:transition spd="med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BDDBAB5-661D-457A-A8DD-5E4777FDCD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79400" y="3434127"/>
            <a:ext cx="2377776" cy="540478"/>
          </a:xfrm>
        </p:spPr>
        <p:txBody>
          <a:bodyPr>
            <a:normAutofit lnSpcReduction="10000"/>
          </a:bodyPr>
          <a:lstStyle/>
          <a:p>
            <a:pPr algn="ctr"/>
            <a:r>
              <a:rPr lang="en-US"/>
              <a:t>INDUSTRY EXPERIE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FB0C30-AF3D-4E92-ACF8-E4724C6125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06581" y="3433385"/>
            <a:ext cx="2377776" cy="540478"/>
          </a:xfrm>
        </p:spPr>
        <p:txBody>
          <a:bodyPr>
            <a:normAutofit lnSpcReduction="10000"/>
          </a:bodyPr>
          <a:lstStyle/>
          <a:p>
            <a:pPr algn="ctr"/>
            <a:r>
              <a:rPr lang="en-US"/>
              <a:t>TECHNOLOGY INVESTME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05F5B8-CC72-46BC-808C-77C0FC34DC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52219" y="3434127"/>
            <a:ext cx="2377776" cy="540478"/>
          </a:xfrm>
        </p:spPr>
        <p:txBody>
          <a:bodyPr/>
          <a:lstStyle/>
          <a:p>
            <a:pPr algn="ctr"/>
            <a:r>
              <a:rPr lang="en-US"/>
              <a:t>LOCAL PROVIDE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00570-FA9F-4EF1-BFB1-190AD539659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990936" y="6223628"/>
            <a:ext cx="2377776" cy="540478"/>
          </a:xfrm>
        </p:spPr>
        <p:txBody>
          <a:bodyPr/>
          <a:lstStyle/>
          <a:p>
            <a:pPr algn="ctr"/>
            <a:r>
              <a:rPr lang="en-US"/>
              <a:t>SHARED VALU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D9E53AB-C0F7-4113-BDB6-785C6D3B87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38355" y="6223628"/>
            <a:ext cx="2377776" cy="540478"/>
          </a:xfrm>
        </p:spPr>
        <p:txBody>
          <a:bodyPr>
            <a:normAutofit/>
          </a:bodyPr>
          <a:lstStyle/>
          <a:p>
            <a:pPr algn="ctr"/>
            <a:r>
              <a:rPr lang="en-US"/>
              <a:t>STABILITY</a:t>
            </a:r>
          </a:p>
        </p:txBody>
      </p:sp>
      <p:pic>
        <p:nvPicPr>
          <p:cNvPr id="16" name="Picture Placeholder 15" descr="A van parked in front of a car&#10;&#10;Description automatically generated">
            <a:extLst>
              <a:ext uri="{FF2B5EF4-FFF2-40B4-BE49-F238E27FC236}">
                <a16:creationId xmlns:a16="http://schemas.microsoft.com/office/drawing/2014/main" id="{01135BDB-3A62-4DBA-9154-8DA48FF0DD7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83" r="8283"/>
          <a:stretch>
            <a:fillRect/>
          </a:stretch>
        </p:blipFill>
        <p:spPr/>
      </p:pic>
      <p:pic>
        <p:nvPicPr>
          <p:cNvPr id="20" name="Picture Placeholder 19" descr="A tall building in a city&#10;&#10;Description automatically generated">
            <a:extLst>
              <a:ext uri="{FF2B5EF4-FFF2-40B4-BE49-F238E27FC236}">
                <a16:creationId xmlns:a16="http://schemas.microsoft.com/office/drawing/2014/main" id="{AD8CE171-3D4D-472B-A526-B5ED65815E91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529" r="12529"/>
          <a:stretch>
            <a:fillRect/>
          </a:stretch>
        </p:blipFill>
        <p:spPr>
          <a:xfrm>
            <a:off x="3331930" y="3998550"/>
            <a:ext cx="2016962" cy="2018105"/>
          </a:xfrm>
        </p:spPr>
      </p:pic>
      <p:pic>
        <p:nvPicPr>
          <p:cNvPr id="32" name="Picture Placeholder 31">
            <a:extLst>
              <a:ext uri="{FF2B5EF4-FFF2-40B4-BE49-F238E27FC236}">
                <a16:creationId xmlns:a16="http://schemas.microsoft.com/office/drawing/2014/main" id="{8DA7F22F-9A67-4433-844D-A35CABAA0BF2}"/>
              </a:ext>
            </a:extLst>
          </p:cNvPr>
          <p:cNvPicPr>
            <a:picLocks noGrp="1" noChangeAspect="1"/>
          </p:cNvPicPr>
          <p:nvPr>
            <p:ph type="pic" sz="quarter" idx="26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892" r="21892"/>
          <a:stretch>
            <a:fillRect/>
          </a:stretch>
        </p:blipFill>
        <p:spPr/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CE5D41EE-38F4-45E2-83C0-A1FC2A5C8FA1}"/>
              </a:ext>
            </a:extLst>
          </p:cNvPr>
          <p:cNvSpPr txBox="1">
            <a:spLocks/>
          </p:cNvSpPr>
          <p:nvPr/>
        </p:nvSpPr>
        <p:spPr>
          <a:xfrm>
            <a:off x="493776" y="167677"/>
            <a:ext cx="11204448" cy="897971"/>
          </a:xfrm>
          <a:prstGeom prst="rect">
            <a:avLst/>
          </a:prstGeom>
        </p:spPr>
        <p:txBody>
          <a:bodyPr vert="horz" lIns="0" tIns="182880" rIns="0" bIns="0" rtlCol="0" anchor="ctr">
            <a:noAutofit/>
          </a:bodyPr>
          <a:lstStyle>
            <a:lvl1pPr algn="l" defTabSz="914377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kumimoji="0" lang="en-US" sz="54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Proxima Nova Black" charset="0"/>
              </a:defRPr>
            </a:lvl1pPr>
            <a:lvl2pPr algn="l" defTabSz="91437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2pPr>
            <a:lvl3pPr algn="l" defTabSz="91437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3pPr>
            <a:lvl4pPr algn="l" defTabSz="91437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4pPr>
            <a:lvl5pPr algn="l" defTabSz="91437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5pPr>
            <a:lvl6pPr marL="228594" algn="l" defTabSz="91437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6pPr>
            <a:lvl7pPr marL="457189" algn="l" defTabSz="91437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7pPr>
            <a:lvl8pPr marL="685783" algn="l" defTabSz="91437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8pPr>
            <a:lvl9pPr marL="914377" algn="l" defTabSz="91437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rgbClr val="EE2929"/>
                </a:solidFill>
                <a:latin typeface="Proxima Nova Black" charset="0"/>
                <a:ea typeface="Proxima Nova Black" charset="0"/>
                <a:cs typeface="Proxima Nova Black" charset="0"/>
                <a:sym typeface="Proxima Nova Black" charset="0"/>
              </a:defRPr>
            </a:lvl9pPr>
          </a:lstStyle>
          <a:p>
            <a:r>
              <a:rPr lang="en-US" sz="3600" b="1" cap="all">
                <a:solidFill>
                  <a:srgbClr val="285A93"/>
                </a:solidFill>
                <a:latin typeface="Avenir Next LT Pro" panose="020B0504020202020204" pitchFamily="34" charset="0"/>
              </a:rPr>
              <a:t>Why cox business</a:t>
            </a:r>
          </a:p>
        </p:txBody>
      </p:sp>
      <p:pic>
        <p:nvPicPr>
          <p:cNvPr id="26" name="Picture Placeholder 25" descr="A picture containing outdoor, building, grass, small&#10;&#10;Description automatically generated">
            <a:extLst>
              <a:ext uri="{FF2B5EF4-FFF2-40B4-BE49-F238E27FC236}">
                <a16:creationId xmlns:a16="http://schemas.microsoft.com/office/drawing/2014/main" id="{4D8E271D-A103-4068-BA89-7967D2F14AFE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875" r="21875"/>
          <a:stretch>
            <a:fillRect/>
          </a:stretch>
        </p:blipFill>
        <p:spPr/>
      </p:pic>
      <p:pic>
        <p:nvPicPr>
          <p:cNvPr id="30" name="Picture Placeholder 29" descr="A picture containing fireworks, orange&#10;&#10;Description automatically generated">
            <a:extLst>
              <a:ext uri="{FF2B5EF4-FFF2-40B4-BE49-F238E27FC236}">
                <a16:creationId xmlns:a16="http://schemas.microsoft.com/office/drawing/2014/main" id="{3CFE1B32-7601-45E4-AC68-FF6D59513494}"/>
              </a:ext>
            </a:extLst>
          </p:cNvPr>
          <p:cNvPicPr>
            <a:picLocks noGrp="1" noChangeAspect="1"/>
          </p:cNvPicPr>
          <p:nvPr>
            <p:ph type="pic" sz="quarter" idx="25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500" r="1250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590618610"/>
      </p:ext>
    </p:extLst>
  </p:cSld>
  <p:clrMapOvr>
    <a:masterClrMapping/>
  </p:clrMapOvr>
  <p:transition spd="med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C0E0956-00D9-4741-B743-788BBCC424B6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590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C0E2E974-CF90-4BCA-B9E5-5B69B8D0E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 cap="all">
                <a:latin typeface="Avenir Next LT Pro" panose="020B0504020202020204" pitchFamily="34" charset="0"/>
              </a:rPr>
              <a:t>Cox business STRATEGIC INVESTMENT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C1E4629-C292-482C-9F6B-448C443AAE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B399095-DD68-4263-B1D5-4FC96EBA3AFF}"/>
              </a:ext>
            </a:extLst>
          </p:cNvPr>
          <p:cNvGrpSpPr/>
          <p:nvPr/>
        </p:nvGrpSpPr>
        <p:grpSpPr>
          <a:xfrm>
            <a:off x="510093" y="3767861"/>
            <a:ext cx="2572216" cy="1794117"/>
            <a:chOff x="510093" y="3767861"/>
            <a:chExt cx="2572216" cy="1794117"/>
          </a:xfrm>
        </p:grpSpPr>
        <p:sp>
          <p:nvSpPr>
            <p:cNvPr id="8" name="Shape 216">
              <a:extLst>
                <a:ext uri="{FF2B5EF4-FFF2-40B4-BE49-F238E27FC236}">
                  <a16:creationId xmlns:a16="http://schemas.microsoft.com/office/drawing/2014/main" id="{CB471B27-25E0-4850-AD58-CAC2C7D11CB3}"/>
                </a:ext>
              </a:extLst>
            </p:cNvPr>
            <p:cNvSpPr txBox="1"/>
            <p:nvPr/>
          </p:nvSpPr>
          <p:spPr>
            <a:xfrm>
              <a:off x="510093" y="4869483"/>
              <a:ext cx="2572216" cy="69249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22859" tIns="22859" rIns="22859" bIns="22859">
              <a:spAutoFit/>
            </a:bodyPr>
            <a:lstStyle/>
            <a:p>
              <a:pPr algn="ctr">
                <a:defRPr sz="2200">
                  <a:solidFill>
                    <a:srgbClr val="3D3834"/>
                  </a:solidFill>
                  <a:latin typeface="Avenir Next"/>
                  <a:ea typeface="Avenir Next"/>
                  <a:cs typeface="Avenir Next"/>
                  <a:sym typeface="Avenir Next"/>
                </a:defRPr>
              </a:pPr>
              <a:r>
                <a:rPr lang="en-US" sz="1400">
                  <a:latin typeface="Calibri" panose="020F0502020204030204" pitchFamily="34" charset="0"/>
                  <a:cs typeface="Calibri" panose="020F0502020204030204" pitchFamily="34" charset="0"/>
                </a:rPr>
                <a:t>O</a:t>
              </a:r>
              <a:r>
                <a:rPr sz="1400">
                  <a:latin typeface="Calibri" panose="020F0502020204030204" pitchFamily="34" charset="0"/>
                  <a:cs typeface="Calibri" panose="020F0502020204030204" pitchFamily="34" charset="0"/>
                </a:rPr>
                <a:t>perational and logistical support for Remote Patent Monitoring (RPM) programs</a:t>
              </a: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02F2E9C5-0C1C-4842-B33A-1F5F804E20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3987" y="3767861"/>
              <a:ext cx="2284428" cy="845089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191DEC6-8490-4EB7-8E2D-51C9A3AF810B}"/>
                </a:ext>
              </a:extLst>
            </p:cNvPr>
            <p:cNvCxnSpPr/>
            <p:nvPr/>
          </p:nvCxnSpPr>
          <p:spPr>
            <a:xfrm>
              <a:off x="1414064" y="4740058"/>
              <a:ext cx="76427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646E952-661C-4CE6-9B10-9C5C219DD979}"/>
              </a:ext>
            </a:extLst>
          </p:cNvPr>
          <p:cNvGrpSpPr/>
          <p:nvPr/>
        </p:nvGrpSpPr>
        <p:grpSpPr>
          <a:xfrm>
            <a:off x="6181881" y="3727766"/>
            <a:ext cx="2493234" cy="2061396"/>
            <a:chOff x="6261662" y="3727766"/>
            <a:chExt cx="2493234" cy="2061396"/>
          </a:xfrm>
        </p:grpSpPr>
        <p:sp>
          <p:nvSpPr>
            <p:cNvPr id="6" name="Shape 219">
              <a:extLst>
                <a:ext uri="{FF2B5EF4-FFF2-40B4-BE49-F238E27FC236}">
                  <a16:creationId xmlns:a16="http://schemas.microsoft.com/office/drawing/2014/main" id="{E81640A2-6F58-46E7-9135-81F255033661}"/>
                </a:ext>
              </a:extLst>
            </p:cNvPr>
            <p:cNvSpPr txBox="1"/>
            <p:nvPr/>
          </p:nvSpPr>
          <p:spPr>
            <a:xfrm>
              <a:off x="6261662" y="4881223"/>
              <a:ext cx="2493234" cy="9079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22859" tIns="22859" rIns="22859" bIns="22859">
              <a:spAutoFit/>
            </a:bodyPr>
            <a:lstStyle>
              <a:lvl1pPr algn="l">
                <a:lnSpc>
                  <a:spcPts val="4100"/>
                </a:lnSpc>
                <a:defRPr sz="2200">
                  <a:solidFill>
                    <a:srgbClr val="3D3834"/>
                  </a:solidFill>
                  <a:latin typeface="Avenir Next"/>
                  <a:ea typeface="Avenir Next"/>
                  <a:cs typeface="Avenir Next"/>
                  <a:sym typeface="Avenir Next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400">
                  <a:latin typeface="Calibri" panose="020F0502020204030204" pitchFamily="34" charset="0"/>
                  <a:cs typeface="Calibri" panose="020F0502020204030204" pitchFamily="34" charset="0"/>
                </a:rPr>
                <a:t>R</a:t>
              </a:r>
              <a:r>
                <a:rPr sz="1400">
                  <a:latin typeface="Calibri" panose="020F0502020204030204" pitchFamily="34" charset="0"/>
                  <a:cs typeface="Calibri" panose="020F0502020204030204" pitchFamily="34" charset="0"/>
                </a:rPr>
                <a:t>eliable network services for schools, carriers, data centers, hospitals, and enterprise business customers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12CCEB2-6B83-428C-B8DA-E4B32653BF6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31981" y="3727766"/>
              <a:ext cx="1714843" cy="897971"/>
            </a:xfrm>
            <a:prstGeom prst="rect">
              <a:avLst/>
            </a:prstGeom>
          </p:spPr>
        </p:pic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1EC4E49-8C26-443D-B639-ACEA94D25AE8}"/>
                </a:ext>
              </a:extLst>
            </p:cNvPr>
            <p:cNvCxnSpPr/>
            <p:nvPr/>
          </p:nvCxnSpPr>
          <p:spPr>
            <a:xfrm>
              <a:off x="7107265" y="4740058"/>
              <a:ext cx="76427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E6494746-C5BF-4FC9-A403-1B9ADB051D91}"/>
              </a:ext>
            </a:extLst>
          </p:cNvPr>
          <p:cNvGrpSpPr/>
          <p:nvPr/>
        </p:nvGrpSpPr>
        <p:grpSpPr>
          <a:xfrm>
            <a:off x="769552" y="1475035"/>
            <a:ext cx="2816682" cy="1571842"/>
            <a:chOff x="769552" y="1475035"/>
            <a:chExt cx="2816682" cy="1571842"/>
          </a:xfrm>
        </p:grpSpPr>
        <p:sp>
          <p:nvSpPr>
            <p:cNvPr id="4" name="Shape 216">
              <a:extLst>
                <a:ext uri="{FF2B5EF4-FFF2-40B4-BE49-F238E27FC236}">
                  <a16:creationId xmlns:a16="http://schemas.microsoft.com/office/drawing/2014/main" id="{630759CE-8FC9-45C5-94C9-B2C29DD14C7E}"/>
                </a:ext>
              </a:extLst>
            </p:cNvPr>
            <p:cNvSpPr txBox="1"/>
            <p:nvPr/>
          </p:nvSpPr>
          <p:spPr>
            <a:xfrm>
              <a:off x="769552" y="2354382"/>
              <a:ext cx="2816682" cy="69249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22859" tIns="22859" rIns="22859" bIns="22859">
              <a:spAutoFit/>
            </a:bodyPr>
            <a:lstStyle>
              <a:lvl1pPr algn="l">
                <a:lnSpc>
                  <a:spcPts val="4100"/>
                </a:lnSpc>
                <a:defRPr sz="2200">
                  <a:solidFill>
                    <a:srgbClr val="3D3834"/>
                  </a:solidFill>
                  <a:latin typeface="Avenir Next"/>
                  <a:ea typeface="Avenir Next"/>
                  <a:cs typeface="Avenir Next"/>
                  <a:sym typeface="Avenir Next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400">
                  <a:latin typeface="+mn-lt"/>
                </a:rPr>
                <a:t>Remote monitoring, control and insight for smarter business environments</a:t>
              </a:r>
              <a:endParaRPr sz="1400">
                <a:latin typeface="+mn-lt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C9809C82-85B3-4278-94C7-4CFF8C7B2DF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4805" y="1475035"/>
              <a:ext cx="2566176" cy="603497"/>
            </a:xfrm>
            <a:prstGeom prst="rect">
              <a:avLst/>
            </a:prstGeom>
          </p:spPr>
        </p:pic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6D84B304-C532-4BC8-851F-4F015DA623EF}"/>
                </a:ext>
              </a:extLst>
            </p:cNvPr>
            <p:cNvCxnSpPr/>
            <p:nvPr/>
          </p:nvCxnSpPr>
          <p:spPr>
            <a:xfrm>
              <a:off x="1795756" y="2260588"/>
              <a:ext cx="76427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8EE3CC3-FA04-4D03-8D15-2486B05EFED5}"/>
              </a:ext>
            </a:extLst>
          </p:cNvPr>
          <p:cNvGrpSpPr/>
          <p:nvPr/>
        </p:nvGrpSpPr>
        <p:grpSpPr>
          <a:xfrm>
            <a:off x="7950979" y="1455112"/>
            <a:ext cx="3428807" cy="1808077"/>
            <a:chOff x="7950979" y="1455112"/>
            <a:chExt cx="3428807" cy="1808077"/>
          </a:xfrm>
        </p:grpSpPr>
        <p:sp>
          <p:nvSpPr>
            <p:cNvPr id="7" name="Shape 227">
              <a:extLst>
                <a:ext uri="{FF2B5EF4-FFF2-40B4-BE49-F238E27FC236}">
                  <a16:creationId xmlns:a16="http://schemas.microsoft.com/office/drawing/2014/main" id="{3C2A9251-8803-4213-8DD0-3E9C91C2A559}"/>
                </a:ext>
              </a:extLst>
            </p:cNvPr>
            <p:cNvSpPr txBox="1"/>
            <p:nvPr/>
          </p:nvSpPr>
          <p:spPr>
            <a:xfrm>
              <a:off x="7950979" y="2355250"/>
              <a:ext cx="3428807" cy="9079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22859" tIns="22859" rIns="22859" bIns="22859">
              <a:spAutoFit/>
            </a:bodyPr>
            <a:lstStyle>
              <a:lvl1pPr algn="l">
                <a:lnSpc>
                  <a:spcPts val="4100"/>
                </a:lnSpc>
                <a:defRPr sz="2200">
                  <a:solidFill>
                    <a:srgbClr val="3D3834"/>
                  </a:solidFill>
                  <a:latin typeface="Avenir Next"/>
                  <a:ea typeface="Avenir Next"/>
                  <a:cs typeface="Avenir Next"/>
                  <a:sym typeface="Avenir Next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400">
                  <a:latin typeface="Calibri" panose="020F0502020204030204" pitchFamily="34" charset="0"/>
                  <a:cs typeface="Calibri" panose="020F0502020204030204" pitchFamily="34" charset="0"/>
                </a:rPr>
                <a:t>A</a:t>
              </a:r>
              <a:r>
                <a:rPr sz="1400">
                  <a:latin typeface="Calibri" panose="020F0502020204030204" pitchFamily="34" charset="0"/>
                  <a:cs typeface="Calibri" panose="020F0502020204030204" pitchFamily="34" charset="0"/>
                </a:rPr>
                <a:t>dvanced convention center services, custom managed </a:t>
              </a:r>
              <a:r>
                <a:rPr lang="en-US" sz="1400" err="1">
                  <a:latin typeface="Calibri" panose="020F0502020204030204" pitchFamily="34" charset="0"/>
                  <a:cs typeface="Calibri" panose="020F0502020204030204" pitchFamily="34" charset="0"/>
                </a:rPr>
                <a:t>W</a:t>
              </a:r>
              <a:r>
                <a:rPr sz="1400" err="1">
                  <a:latin typeface="Calibri" panose="020F0502020204030204" pitchFamily="34" charset="0"/>
                  <a:cs typeface="Calibri" panose="020F0502020204030204" pitchFamily="34" charset="0"/>
                </a:rPr>
                <a:t>i</a:t>
              </a:r>
              <a:r>
                <a:rPr lang="en-US" sz="1400" err="1">
                  <a:latin typeface="Calibri" panose="020F0502020204030204" pitchFamily="34" charset="0"/>
                  <a:cs typeface="Calibri" panose="020F0502020204030204" pitchFamily="34" charset="0"/>
                </a:rPr>
                <a:t>F</a:t>
              </a:r>
              <a:r>
                <a:rPr sz="1400" err="1">
                  <a:latin typeface="Calibri" panose="020F0502020204030204" pitchFamily="34" charset="0"/>
                  <a:cs typeface="Calibri" panose="020F0502020204030204" pitchFamily="34" charset="0"/>
                </a:rPr>
                <a:t>i</a:t>
              </a:r>
              <a:r>
                <a:rPr sz="1400">
                  <a:latin typeface="Calibri" panose="020F0502020204030204" pitchFamily="34" charset="0"/>
                  <a:cs typeface="Calibri" panose="020F0502020204030204" pitchFamily="34" charset="0"/>
                </a:rPr>
                <a:t> networks, high capacity bandwidth, free-to-guest TV</a:t>
              </a:r>
              <a:r>
                <a:rPr lang="en-US" sz="1400">
                  <a:latin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sz="1400">
                  <a:latin typeface="Calibri" panose="020F0502020204030204" pitchFamily="34" charset="0"/>
                  <a:cs typeface="Calibri" panose="020F0502020204030204" pitchFamily="34" charset="0"/>
                </a:rPr>
                <a:t>digital signage and location-based advertisement services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C53948A-6E41-4867-8C64-FF6097CA18D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574955" y="1455112"/>
              <a:ext cx="2187211" cy="617023"/>
            </a:xfrm>
            <a:prstGeom prst="rect">
              <a:avLst/>
            </a:prstGeom>
          </p:spPr>
        </p:pic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0F88CD0-481F-43F1-BEED-A8F5C453E419}"/>
                </a:ext>
              </a:extLst>
            </p:cNvPr>
            <p:cNvCxnSpPr/>
            <p:nvPr/>
          </p:nvCxnSpPr>
          <p:spPr>
            <a:xfrm>
              <a:off x="9286423" y="2260588"/>
              <a:ext cx="76427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13F2EDB-AB2D-4075-836C-1DC42EE9AF5C}"/>
              </a:ext>
            </a:extLst>
          </p:cNvPr>
          <p:cNvGrpSpPr/>
          <p:nvPr/>
        </p:nvGrpSpPr>
        <p:grpSpPr>
          <a:xfrm>
            <a:off x="3330548" y="3721326"/>
            <a:ext cx="2572217" cy="1840651"/>
            <a:chOff x="3330548" y="3721326"/>
            <a:chExt cx="2572217" cy="1840651"/>
          </a:xfrm>
        </p:grpSpPr>
        <p:sp>
          <p:nvSpPr>
            <p:cNvPr id="5" name="Shape 218">
              <a:extLst>
                <a:ext uri="{FF2B5EF4-FFF2-40B4-BE49-F238E27FC236}">
                  <a16:creationId xmlns:a16="http://schemas.microsoft.com/office/drawing/2014/main" id="{C7FB24A0-2FC5-4DFB-BBF3-87724EC11985}"/>
                </a:ext>
              </a:extLst>
            </p:cNvPr>
            <p:cNvSpPr txBox="1"/>
            <p:nvPr/>
          </p:nvSpPr>
          <p:spPr>
            <a:xfrm>
              <a:off x="3330548" y="4869482"/>
              <a:ext cx="2572217" cy="69249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22859" tIns="22859" rIns="22859" bIns="22859">
              <a:spAutoFit/>
            </a:bodyPr>
            <a:lstStyle>
              <a:lvl1pPr algn="l">
                <a:lnSpc>
                  <a:spcPts val="4100"/>
                </a:lnSpc>
                <a:defRPr sz="2200">
                  <a:solidFill>
                    <a:srgbClr val="3D3834"/>
                  </a:solidFill>
                  <a:latin typeface="Avenir Next"/>
                  <a:ea typeface="Avenir Next"/>
                  <a:cs typeface="Avenir Next"/>
                  <a:sym typeface="Avenir Next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400">
                  <a:latin typeface="Calibri" panose="020F0502020204030204" pitchFamily="34" charset="0"/>
                  <a:cs typeface="Calibri" panose="020F0502020204030204" pitchFamily="34" charset="0"/>
                </a:rPr>
                <a:t>Design and management of complex data network services for hospitality industry</a:t>
              </a:r>
              <a:endParaRPr sz="14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51497205-6192-418D-B8EE-743777AE8E93}"/>
                </a:ext>
              </a:extLst>
            </p:cNvPr>
            <p:cNvCxnSpPr/>
            <p:nvPr/>
          </p:nvCxnSpPr>
          <p:spPr>
            <a:xfrm>
              <a:off x="4234520" y="4740058"/>
              <a:ext cx="76427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170" name="Picture 2" descr="Image result for blueprint rf">
              <a:extLst>
                <a:ext uri="{FF2B5EF4-FFF2-40B4-BE49-F238E27FC236}">
                  <a16:creationId xmlns:a16="http://schemas.microsoft.com/office/drawing/2014/main" id="{C75F28C2-88B8-4BC7-8673-511C913F3B8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8325" y="3721326"/>
              <a:ext cx="1736664" cy="8058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5B7DE0F-6362-4A18-9BD5-53E8F7570A2E}"/>
              </a:ext>
            </a:extLst>
          </p:cNvPr>
          <p:cNvGrpSpPr/>
          <p:nvPr/>
        </p:nvGrpSpPr>
        <p:grpSpPr>
          <a:xfrm>
            <a:off x="4304013" y="1394685"/>
            <a:ext cx="3263571" cy="1868504"/>
            <a:chOff x="4304013" y="1394685"/>
            <a:chExt cx="3263571" cy="1868504"/>
          </a:xfrm>
        </p:grpSpPr>
        <p:sp>
          <p:nvSpPr>
            <p:cNvPr id="9" name="Shape 216">
              <a:extLst>
                <a:ext uri="{FF2B5EF4-FFF2-40B4-BE49-F238E27FC236}">
                  <a16:creationId xmlns:a16="http://schemas.microsoft.com/office/drawing/2014/main" id="{6C4974B9-F08E-4226-B59C-BFDEC707D572}"/>
                </a:ext>
              </a:extLst>
            </p:cNvPr>
            <p:cNvSpPr txBox="1"/>
            <p:nvPr/>
          </p:nvSpPr>
          <p:spPr>
            <a:xfrm>
              <a:off x="4304013" y="2355250"/>
              <a:ext cx="3263571" cy="9079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22859" tIns="22859" rIns="22859" bIns="22859">
              <a:spAutoFit/>
            </a:bodyPr>
            <a:lstStyle>
              <a:lvl1pPr algn="l">
                <a:lnSpc>
                  <a:spcPts val="4100"/>
                </a:lnSpc>
                <a:defRPr sz="2200">
                  <a:solidFill>
                    <a:srgbClr val="3D3834"/>
                  </a:solidFill>
                  <a:latin typeface="Avenir Next"/>
                  <a:ea typeface="Avenir Next"/>
                  <a:cs typeface="Avenir Next"/>
                  <a:sym typeface="Avenir Next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400">
                  <a:latin typeface="+mn-lt"/>
                </a:rPr>
                <a:t>Managed cloud services powered by </a:t>
              </a:r>
              <a:r>
                <a:rPr lang="en-US" sz="1400" err="1">
                  <a:latin typeface="+mn-lt"/>
                </a:rPr>
                <a:t>RapidScale</a:t>
              </a:r>
              <a:r>
                <a:rPr lang="en-US" sz="1400">
                  <a:latin typeface="+mn-lt"/>
                </a:rPr>
                <a:t> technology enable businesses to simplify their IT operations and benefit from enterprise-level technology.</a:t>
              </a:r>
              <a:endParaRPr sz="1400">
                <a:latin typeface="+mn-lt"/>
              </a:endParaRP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C41F569D-E70A-4599-820F-5C4E8D797ABE}"/>
                </a:ext>
              </a:extLst>
            </p:cNvPr>
            <p:cNvCxnSpPr/>
            <p:nvPr/>
          </p:nvCxnSpPr>
          <p:spPr>
            <a:xfrm>
              <a:off x="5553661" y="2260588"/>
              <a:ext cx="76427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3" name="Picture 12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705B7536-335C-4809-A46E-800FD63096C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52272" y="1394685"/>
              <a:ext cx="2767051" cy="753528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E310E26-B0E9-475A-B4CC-F0470977E327}"/>
              </a:ext>
            </a:extLst>
          </p:cNvPr>
          <p:cNvGrpSpPr/>
          <p:nvPr/>
        </p:nvGrpSpPr>
        <p:grpSpPr>
          <a:xfrm>
            <a:off x="8934728" y="3975344"/>
            <a:ext cx="2689202" cy="2017521"/>
            <a:chOff x="8934728" y="3975344"/>
            <a:chExt cx="2689202" cy="2017521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D04AEDBF-E5C0-45B1-BFFC-266EAAD65952}"/>
                </a:ext>
              </a:extLst>
            </p:cNvPr>
            <p:cNvGrpSpPr/>
            <p:nvPr/>
          </p:nvGrpSpPr>
          <p:grpSpPr>
            <a:xfrm>
              <a:off x="8934728" y="4740058"/>
              <a:ext cx="2604276" cy="1252807"/>
              <a:chOff x="8934728" y="4740058"/>
              <a:chExt cx="2604276" cy="1252807"/>
            </a:xfrm>
          </p:grpSpPr>
          <p:sp>
            <p:nvSpPr>
              <p:cNvPr id="16" name="Shape 216">
                <a:extLst>
                  <a:ext uri="{FF2B5EF4-FFF2-40B4-BE49-F238E27FC236}">
                    <a16:creationId xmlns:a16="http://schemas.microsoft.com/office/drawing/2014/main" id="{BB40A017-B62F-4E28-A78B-2164227AB0CC}"/>
                  </a:ext>
                </a:extLst>
              </p:cNvPr>
              <p:cNvSpPr txBox="1"/>
              <p:nvPr/>
            </p:nvSpPr>
            <p:spPr>
              <a:xfrm>
                <a:off x="8934728" y="4869483"/>
                <a:ext cx="2604276" cy="112338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22859" tIns="22859" rIns="22859" bIns="22859">
                <a:spAutoFit/>
              </a:bodyPr>
              <a:lstStyle>
                <a:lvl1pPr algn="l">
                  <a:lnSpc>
                    <a:spcPts val="4100"/>
                  </a:lnSpc>
                  <a:defRPr sz="2200">
                    <a:solidFill>
                      <a:srgbClr val="3D3834"/>
                    </a:solidFill>
                    <a:latin typeface="Avenir Next"/>
                    <a:ea typeface="Avenir Next"/>
                    <a:cs typeface="Avenir Next"/>
                    <a:sym typeface="Avenir Next"/>
                  </a:defRPr>
                </a:lvl1pPr>
              </a:lstStyle>
              <a:p>
                <a:pPr algn="ctr">
                  <a:lnSpc>
                    <a:spcPct val="100000"/>
                  </a:lnSpc>
                </a:pPr>
                <a:r>
                  <a:rPr lang="en-US" sz="1400">
                    <a:latin typeface="+mn-lt"/>
                  </a:rPr>
                  <a:t>Custom IoT solutions allowing businesses and cities to connect and manage assets for operational efficiencies and enhanced customer experiences</a:t>
                </a:r>
                <a:endParaRPr sz="1400">
                  <a:latin typeface="+mn-lt"/>
                </a:endParaRPr>
              </a:p>
            </p:txBody>
          </p: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1E4CFAA7-A78F-42D3-9586-7CE8F36D5687}"/>
                  </a:ext>
                </a:extLst>
              </p:cNvPr>
              <p:cNvCxnSpPr/>
              <p:nvPr/>
            </p:nvCxnSpPr>
            <p:spPr>
              <a:xfrm>
                <a:off x="9854729" y="4740058"/>
                <a:ext cx="764274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2" name="Picture 8" descr="Picture 8">
              <a:extLst>
                <a:ext uri="{FF2B5EF4-FFF2-40B4-BE49-F238E27FC236}">
                  <a16:creationId xmlns:a16="http://schemas.microsoft.com/office/drawing/2014/main" id="{9059B536-0387-49B8-B1C3-37E1B498E1A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94944" y="3975344"/>
              <a:ext cx="2628986" cy="507698"/>
            </a:xfrm>
            <a:prstGeom prst="rect">
              <a:avLst/>
            </a:prstGeom>
            <a:ln w="12700">
              <a:miter lim="400000"/>
            </a:ln>
          </p:spPr>
        </p:pic>
      </p:grpSp>
    </p:spTree>
    <p:extLst>
      <p:ext uri="{BB962C8B-B14F-4D97-AF65-F5344CB8AC3E}">
        <p14:creationId xmlns:p14="http://schemas.microsoft.com/office/powerpoint/2010/main" val="3342610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FC9E54D-F6CB-4277-B837-D81AEC2D4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1"/>
          </a:xfrm>
        </p:spPr>
        <p:txBody>
          <a:bodyPr/>
          <a:lstStyle/>
          <a:p>
            <a:r>
              <a:rPr lang="en-US" sz="3600" b="1" cap="all">
                <a:latin typeface="Avenir Next LT Pro" panose="020B0504020202020204" pitchFamily="34" charset="0"/>
                <a:cs typeface="Calibri"/>
              </a:rPr>
              <a:t>Community investment</a:t>
            </a:r>
            <a:endParaRPr lang="en-US" sz="3600" b="1" cap="all">
              <a:latin typeface="Avenir Next LT Pro" panose="020B0504020202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1FEB6A0-1172-4F99-9203-D0ACC2A781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DB78801-104E-44D2-9365-987D3BDBEE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42414" y="3510209"/>
            <a:ext cx="2609241" cy="119699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9982A48-0046-4736-A30B-28B58CBC93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42414" y="4774487"/>
            <a:ext cx="2610248" cy="119699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2297A4-3B64-4D47-85C4-83BAEAA38A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43420" y="2256815"/>
            <a:ext cx="2609242" cy="119699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18C2368-700E-4C02-9A98-D622697726E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2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744928" y="1295048"/>
            <a:ext cx="2766303" cy="77859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A1059A7-27CD-445A-BC71-C7888A98F11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2207" y="1942423"/>
            <a:ext cx="1236890" cy="123450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399F7BA-C5CE-4328-A278-B4486FAC765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44107"/>
          <a:stretch/>
        </p:blipFill>
        <p:spPr>
          <a:xfrm>
            <a:off x="4473767" y="3176925"/>
            <a:ext cx="3021995" cy="12858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2416B95-4BC4-423B-BFA5-BBC48699435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31933" y="4685608"/>
            <a:ext cx="2971800" cy="1285875"/>
          </a:xfrm>
          <a:prstGeom prst="rect">
            <a:avLst/>
          </a:prstGeom>
        </p:spPr>
      </p:pic>
      <p:sp>
        <p:nvSpPr>
          <p:cNvPr id="13" name="Shape 195">
            <a:extLst>
              <a:ext uri="{FF2B5EF4-FFF2-40B4-BE49-F238E27FC236}">
                <a16:creationId xmlns:a16="http://schemas.microsoft.com/office/drawing/2014/main" id="{A77CEBFE-1BC0-4E52-B737-FC91C142873B}"/>
              </a:ext>
            </a:extLst>
          </p:cNvPr>
          <p:cNvSpPr/>
          <p:nvPr/>
        </p:nvSpPr>
        <p:spPr>
          <a:xfrm flipH="1">
            <a:off x="3930285" y="1308043"/>
            <a:ext cx="0" cy="466344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4" name="Shape 195">
            <a:extLst>
              <a:ext uri="{FF2B5EF4-FFF2-40B4-BE49-F238E27FC236}">
                <a16:creationId xmlns:a16="http://schemas.microsoft.com/office/drawing/2014/main" id="{BD13A1EF-A605-4A2C-954A-5CD52ABDD34B}"/>
              </a:ext>
            </a:extLst>
          </p:cNvPr>
          <p:cNvSpPr/>
          <p:nvPr/>
        </p:nvSpPr>
        <p:spPr>
          <a:xfrm flipH="1">
            <a:off x="7868653" y="1308043"/>
            <a:ext cx="0" cy="466344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60DBDF0-821C-411F-848B-E0F0F84D8943}"/>
              </a:ext>
            </a:extLst>
          </p:cNvPr>
          <p:cNvSpPr/>
          <p:nvPr/>
        </p:nvSpPr>
        <p:spPr>
          <a:xfrm>
            <a:off x="1030180" y="2515165"/>
            <a:ext cx="223760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>
                <a:solidFill>
                  <a:srgbClr val="252525"/>
                </a:solidFill>
                <a:latin typeface="Avenir Next LT Pro" panose="020B0504020202020204" pitchFamily="34" charset="0"/>
              </a:rPr>
              <a:t>Youth and Education</a:t>
            </a:r>
            <a:endParaRPr lang="en-US" sz="1600" b="1">
              <a:latin typeface="Avenir Next LT Pro" panose="020B05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8CCFDEC-5B91-45AC-97AE-CFBD4414283B}"/>
              </a:ext>
            </a:extLst>
          </p:cNvPr>
          <p:cNvSpPr/>
          <p:nvPr/>
        </p:nvSpPr>
        <p:spPr>
          <a:xfrm>
            <a:off x="1002777" y="3553888"/>
            <a:ext cx="228036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>
                <a:solidFill>
                  <a:srgbClr val="252525"/>
                </a:solidFill>
                <a:latin typeface="Avenir Next LT Pro" panose="020B0504020202020204" pitchFamily="34" charset="0"/>
              </a:rPr>
              <a:t>Broadband Adoption</a:t>
            </a:r>
            <a:endParaRPr lang="en-US" sz="1600" b="1">
              <a:latin typeface="Avenir Next LT Pro" panose="020B05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F2C1BF5-B949-499B-989C-3E1D154D47E6}"/>
              </a:ext>
            </a:extLst>
          </p:cNvPr>
          <p:cNvSpPr/>
          <p:nvPr/>
        </p:nvSpPr>
        <p:spPr>
          <a:xfrm>
            <a:off x="959240" y="4592611"/>
            <a:ext cx="245131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>
                <a:solidFill>
                  <a:srgbClr val="252525"/>
                </a:solidFill>
                <a:latin typeface="Avenir Next LT Pro" panose="020B0504020202020204" pitchFamily="34" charset="0"/>
              </a:rPr>
              <a:t>Diversity and Inclusion</a:t>
            </a:r>
            <a:endParaRPr lang="en-US" sz="1600" b="1">
              <a:latin typeface="Avenir Next LT Pro" panose="020B05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8AEE48B-8F1C-4DDF-8674-7A4CAE34B51A}"/>
              </a:ext>
            </a:extLst>
          </p:cNvPr>
          <p:cNvSpPr/>
          <p:nvPr/>
        </p:nvSpPr>
        <p:spPr>
          <a:xfrm>
            <a:off x="1370786" y="5660519"/>
            <a:ext cx="15359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>
                <a:solidFill>
                  <a:srgbClr val="252525"/>
                </a:solidFill>
                <a:latin typeface="Avenir Next LT Pro" panose="020B0504020202020204" pitchFamily="34" charset="0"/>
              </a:rPr>
              <a:t>Sustainability</a:t>
            </a:r>
            <a:endParaRPr lang="en-US" sz="1600" b="1">
              <a:latin typeface="Avenir Next LT Pro" panose="020B0504020202020204" pitchFamily="34" charset="0"/>
            </a:endParaRPr>
          </a:p>
        </p:txBody>
      </p:sp>
      <p:pic>
        <p:nvPicPr>
          <p:cNvPr id="1026" name="Picture 2" descr="Image result for cox charities logo">
            <a:extLst>
              <a:ext uri="{FF2B5EF4-FFF2-40B4-BE49-F238E27FC236}">
                <a16:creationId xmlns:a16="http://schemas.microsoft.com/office/drawing/2014/main" id="{97AAC14E-4C12-4EA0-90B0-F08CD00ED1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210" y="1161995"/>
            <a:ext cx="2847049" cy="613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 result for cox conserves logo">
            <a:extLst>
              <a:ext uri="{FF2B5EF4-FFF2-40B4-BE49-F238E27FC236}">
                <a16:creationId xmlns:a16="http://schemas.microsoft.com/office/drawing/2014/main" id="{E5077957-3D4E-4519-B1CA-DA327B20F6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23788" b="25000"/>
          <a:stretch/>
        </p:blipFill>
        <p:spPr bwMode="auto">
          <a:xfrm>
            <a:off x="8311056" y="1079026"/>
            <a:ext cx="2676525" cy="878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Graphic 20" descr="Classroom">
            <a:extLst>
              <a:ext uri="{FF2B5EF4-FFF2-40B4-BE49-F238E27FC236}">
                <a16:creationId xmlns:a16="http://schemas.microsoft.com/office/drawing/2014/main" id="{42AA0AC2-3ADC-454F-A2B2-78EEA7614EC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842313" y="1922967"/>
            <a:ext cx="626980" cy="626980"/>
          </a:xfrm>
          <a:prstGeom prst="rect">
            <a:avLst/>
          </a:prstGeom>
        </p:spPr>
      </p:pic>
      <p:pic>
        <p:nvPicPr>
          <p:cNvPr id="23" name="Graphic 22" descr="Internet">
            <a:extLst>
              <a:ext uri="{FF2B5EF4-FFF2-40B4-BE49-F238E27FC236}">
                <a16:creationId xmlns:a16="http://schemas.microsoft.com/office/drawing/2014/main" id="{57EFB771-8C4A-4A0F-A1EE-5BC9F6989FD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760516" y="2920554"/>
            <a:ext cx="773229" cy="773229"/>
          </a:xfrm>
          <a:prstGeom prst="rect">
            <a:avLst/>
          </a:prstGeom>
        </p:spPr>
      </p:pic>
      <p:pic>
        <p:nvPicPr>
          <p:cNvPr id="27" name="Graphic 26" descr="Open hand with plant">
            <a:extLst>
              <a:ext uri="{FF2B5EF4-FFF2-40B4-BE49-F238E27FC236}">
                <a16:creationId xmlns:a16="http://schemas.microsoft.com/office/drawing/2014/main" id="{6C75D2A0-68BE-47EC-A330-4CFA2B460B5F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728595" y="4988461"/>
            <a:ext cx="769047" cy="769047"/>
          </a:xfrm>
          <a:prstGeom prst="rect">
            <a:avLst/>
          </a:prstGeom>
        </p:spPr>
      </p:pic>
      <p:pic>
        <p:nvPicPr>
          <p:cNvPr id="29" name="Graphic 28" descr="Users">
            <a:extLst>
              <a:ext uri="{FF2B5EF4-FFF2-40B4-BE49-F238E27FC236}">
                <a16:creationId xmlns:a16="http://schemas.microsoft.com/office/drawing/2014/main" id="{9B80D2E5-6CEF-4CA3-B63A-0181CD9BE39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757779" y="3932429"/>
            <a:ext cx="805147" cy="805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950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00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6" grpId="0"/>
      <p:bldP spid="17" grpId="0"/>
      <p:bldP spid="18" grpId="0"/>
      <p:bldP spid="19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396AD9B-9906-4095-BDC0-642CAB5AC54B}"/>
              </a:ext>
            </a:extLst>
          </p:cNvPr>
          <p:cNvSpPr txBox="1"/>
          <p:nvPr/>
        </p:nvSpPr>
        <p:spPr>
          <a:xfrm>
            <a:off x="0" y="2459876"/>
            <a:ext cx="12191999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500" b="1">
                <a:solidFill>
                  <a:schemeClr val="bg1"/>
                </a:solidFill>
                <a:effectLst>
                  <a:glow rad="190500">
                    <a:schemeClr val="tx1">
                      <a:alpha val="25000"/>
                    </a:schemeClr>
                  </a:glow>
                </a:effectLst>
                <a:latin typeface="Avenir Next LT Pro" panose="020B0504020202020204" pitchFamily="34" charset="0"/>
              </a:rPr>
              <a:t>PEOPLE</a:t>
            </a:r>
          </a:p>
        </p:txBody>
      </p:sp>
    </p:spTree>
    <p:extLst>
      <p:ext uri="{BB962C8B-B14F-4D97-AF65-F5344CB8AC3E}">
        <p14:creationId xmlns:p14="http://schemas.microsoft.com/office/powerpoint/2010/main" val="11146779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396AD9B-9906-4095-BDC0-642CAB5AC54B}"/>
              </a:ext>
            </a:extLst>
          </p:cNvPr>
          <p:cNvSpPr txBox="1"/>
          <p:nvPr/>
        </p:nvSpPr>
        <p:spPr>
          <a:xfrm>
            <a:off x="0" y="2497976"/>
            <a:ext cx="12192000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500" b="1">
                <a:solidFill>
                  <a:schemeClr val="bg1"/>
                </a:solidFill>
                <a:effectLst>
                  <a:glow rad="190500">
                    <a:schemeClr val="tx1">
                      <a:alpha val="25000"/>
                    </a:schemeClr>
                  </a:glow>
                </a:effectLst>
                <a:latin typeface="Avenir Next LT Pro" panose="020B0504020202020204" pitchFamily="34" charset="0"/>
              </a:rPr>
              <a:t>TECHNOLOGY</a:t>
            </a:r>
          </a:p>
        </p:txBody>
      </p:sp>
    </p:spTree>
    <p:extLst>
      <p:ext uri="{BB962C8B-B14F-4D97-AF65-F5344CB8AC3E}">
        <p14:creationId xmlns:p14="http://schemas.microsoft.com/office/powerpoint/2010/main" val="3190740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04FD65C-39C2-4472-8FDD-704001035A72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51670" y="547008"/>
            <a:ext cx="10916484" cy="58478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0E14B9-A6C6-4011-836C-0E2CBC2257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 cap="all">
                <a:latin typeface="Avenir Next LT Pro" panose="020B0504020202020204" pitchFamily="34" charset="0"/>
              </a:rPr>
              <a:t>Cox Business Global Network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3E7D88-5CA5-4675-A29B-CAA25D66AA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ox Business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0349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35D0CF-01C3-483D-A677-879A783DAF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hape 192">
            <a:extLst>
              <a:ext uri="{FF2B5EF4-FFF2-40B4-BE49-F238E27FC236}">
                <a16:creationId xmlns:a16="http://schemas.microsoft.com/office/drawing/2014/main" id="{53F92D66-9CF8-4C79-9BEA-56BC6829E516}"/>
              </a:ext>
            </a:extLst>
          </p:cNvPr>
          <p:cNvSpPr txBox="1"/>
          <p:nvPr/>
        </p:nvSpPr>
        <p:spPr>
          <a:xfrm>
            <a:off x="6659267" y="2268819"/>
            <a:ext cx="1732061" cy="552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71435" tIns="71435" rIns="71435" bIns="71435" anchor="ctr">
            <a:spAutoFit/>
          </a:bodyPr>
          <a:lstStyle>
            <a:lvl1pPr algn="l" defTabSz="457200">
              <a:lnSpc>
                <a:spcPct val="120000"/>
              </a:lnSpc>
              <a:defRPr sz="3000" spc="533">
                <a:solidFill>
                  <a:srgbClr val="00BFE7"/>
                </a:solidFill>
                <a:latin typeface="Avenir Next LT Pro"/>
                <a:ea typeface="Avenir Next LT Pro"/>
                <a:cs typeface="Avenir Next LT Pro"/>
                <a:sym typeface="Avenir Next LT Pro"/>
              </a:defRPr>
            </a:lvl1pPr>
          </a:lstStyle>
          <a:p>
            <a:pPr algn="ctr"/>
            <a:r>
              <a:rPr sz="2400" b="1" spc="0">
                <a:solidFill>
                  <a:srgbClr val="00AAF4"/>
                </a:solidFill>
              </a:rPr>
              <a:t>VOICE</a:t>
            </a:r>
          </a:p>
        </p:txBody>
      </p:sp>
      <p:sp>
        <p:nvSpPr>
          <p:cNvPr id="6" name="Shape 195">
            <a:extLst>
              <a:ext uri="{FF2B5EF4-FFF2-40B4-BE49-F238E27FC236}">
                <a16:creationId xmlns:a16="http://schemas.microsoft.com/office/drawing/2014/main" id="{54AEAF9C-987E-4602-A997-470935F2C8D1}"/>
              </a:ext>
            </a:extLst>
          </p:cNvPr>
          <p:cNvSpPr/>
          <p:nvPr/>
        </p:nvSpPr>
        <p:spPr>
          <a:xfrm flipH="1">
            <a:off x="3152074" y="1445226"/>
            <a:ext cx="0" cy="466344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7" name="Shape 196">
            <a:extLst>
              <a:ext uri="{FF2B5EF4-FFF2-40B4-BE49-F238E27FC236}">
                <a16:creationId xmlns:a16="http://schemas.microsoft.com/office/drawing/2014/main" id="{D9F4BF32-EFF4-4200-B1E6-CA36A6E46007}"/>
              </a:ext>
            </a:extLst>
          </p:cNvPr>
          <p:cNvSpPr txBox="1"/>
          <p:nvPr/>
        </p:nvSpPr>
        <p:spPr>
          <a:xfrm>
            <a:off x="3238608" y="2103742"/>
            <a:ext cx="2729817" cy="8829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71435" tIns="71435" rIns="71435" bIns="71435" anchor="ctr">
            <a:spAutoFit/>
          </a:bodyPr>
          <a:lstStyle>
            <a:lvl1pPr algn="l" defTabSz="457200">
              <a:lnSpc>
                <a:spcPct val="120000"/>
              </a:lnSpc>
              <a:defRPr sz="3000" spc="533">
                <a:solidFill>
                  <a:srgbClr val="00BFE7"/>
                </a:solidFill>
                <a:latin typeface="Avenir Next LT Pro"/>
                <a:ea typeface="Avenir Next LT Pro"/>
                <a:cs typeface="Avenir Next LT Pro"/>
                <a:sym typeface="Avenir Next LT Pro"/>
              </a:defRPr>
            </a:lvl1pPr>
          </a:lstStyle>
          <a:p>
            <a:pPr algn="ctr">
              <a:lnSpc>
                <a:spcPct val="100000"/>
              </a:lnSpc>
            </a:pPr>
            <a:r>
              <a:rPr sz="2400" b="1" spc="0">
                <a:solidFill>
                  <a:srgbClr val="00AAF4"/>
                </a:solidFill>
              </a:rPr>
              <a:t>INTERNET</a:t>
            </a:r>
            <a:endParaRPr lang="en-US" sz="2400" b="1" spc="0">
              <a:solidFill>
                <a:srgbClr val="00AAF4"/>
              </a:solidFill>
            </a:endParaRPr>
          </a:p>
          <a:p>
            <a:pPr algn="ctr">
              <a:lnSpc>
                <a:spcPct val="100000"/>
              </a:lnSpc>
            </a:pPr>
            <a:r>
              <a:rPr lang="en-US" sz="2400" b="1" spc="0">
                <a:solidFill>
                  <a:srgbClr val="00AAF4"/>
                </a:solidFill>
              </a:rPr>
              <a:t>&amp; TRANSPORT</a:t>
            </a:r>
            <a:endParaRPr sz="2400" b="1" spc="0">
              <a:solidFill>
                <a:srgbClr val="00AAF4"/>
              </a:solidFill>
            </a:endParaRPr>
          </a:p>
        </p:txBody>
      </p:sp>
      <p:sp>
        <p:nvSpPr>
          <p:cNvPr id="10" name="Shape 200">
            <a:extLst>
              <a:ext uri="{FF2B5EF4-FFF2-40B4-BE49-F238E27FC236}">
                <a16:creationId xmlns:a16="http://schemas.microsoft.com/office/drawing/2014/main" id="{FC5D1F95-4284-4783-A99A-AF438350FB9C}"/>
              </a:ext>
            </a:extLst>
          </p:cNvPr>
          <p:cNvSpPr txBox="1"/>
          <p:nvPr/>
        </p:nvSpPr>
        <p:spPr>
          <a:xfrm>
            <a:off x="9406947" y="2268819"/>
            <a:ext cx="1952454" cy="552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71435" tIns="71435" rIns="71435" bIns="71435" anchor="ctr">
            <a:spAutoFit/>
          </a:bodyPr>
          <a:lstStyle>
            <a:lvl1pPr algn="l" defTabSz="457200">
              <a:lnSpc>
                <a:spcPct val="120000"/>
              </a:lnSpc>
              <a:defRPr sz="3000" spc="533">
                <a:solidFill>
                  <a:srgbClr val="00BFE7"/>
                </a:solidFill>
                <a:latin typeface="Avenir Next LT Pro"/>
                <a:ea typeface="Avenir Next LT Pro"/>
                <a:cs typeface="Avenir Next LT Pro"/>
                <a:sym typeface="Avenir Next LT Pro"/>
              </a:defRPr>
            </a:lvl1pPr>
          </a:lstStyle>
          <a:p>
            <a:pPr algn="ctr"/>
            <a:r>
              <a:rPr lang="en-US" sz="2400" b="1" spc="0">
                <a:solidFill>
                  <a:srgbClr val="00AAF4"/>
                </a:solidFill>
              </a:rPr>
              <a:t>TELEVISION</a:t>
            </a:r>
            <a:endParaRPr sz="2400" b="1" spc="0">
              <a:solidFill>
                <a:srgbClr val="00AAF4"/>
              </a:solidFill>
            </a:endParaRPr>
          </a:p>
        </p:txBody>
      </p:sp>
      <p:sp>
        <p:nvSpPr>
          <p:cNvPr id="13" name="Shape 202">
            <a:extLst>
              <a:ext uri="{FF2B5EF4-FFF2-40B4-BE49-F238E27FC236}">
                <a16:creationId xmlns:a16="http://schemas.microsoft.com/office/drawing/2014/main" id="{BD96E3F2-8664-425C-89EF-03C95E06F950}"/>
              </a:ext>
            </a:extLst>
          </p:cNvPr>
          <p:cNvSpPr txBox="1"/>
          <p:nvPr/>
        </p:nvSpPr>
        <p:spPr>
          <a:xfrm>
            <a:off x="800576" y="2268819"/>
            <a:ext cx="1786032" cy="5527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71435" tIns="71435" rIns="71435" bIns="71435" anchor="ctr">
            <a:spAutoFit/>
          </a:bodyPr>
          <a:lstStyle>
            <a:lvl1pPr algn="l" defTabSz="457200">
              <a:lnSpc>
                <a:spcPct val="120000"/>
              </a:lnSpc>
              <a:defRPr sz="3000" spc="533">
                <a:solidFill>
                  <a:srgbClr val="00BFE7"/>
                </a:solidFill>
                <a:latin typeface="Avenir Next LT Pro"/>
                <a:ea typeface="Avenir Next LT Pro"/>
                <a:cs typeface="Avenir Next LT Pro"/>
                <a:sym typeface="Avenir Next LT Pro"/>
              </a:defRPr>
            </a:lvl1pPr>
          </a:lstStyle>
          <a:p>
            <a:pPr algn="ctr"/>
            <a:r>
              <a:rPr lang="en-US" sz="2400" b="1" spc="0">
                <a:solidFill>
                  <a:srgbClr val="00AAF4"/>
                </a:solidFill>
              </a:rPr>
              <a:t>CLOUD</a:t>
            </a:r>
            <a:endParaRPr sz="2400" b="1" spc="0">
              <a:solidFill>
                <a:srgbClr val="00AAF4"/>
              </a:solidFill>
            </a:endParaRPr>
          </a:p>
        </p:txBody>
      </p:sp>
      <p:sp>
        <p:nvSpPr>
          <p:cNvPr id="15" name="Shape 193">
            <a:extLst>
              <a:ext uri="{FF2B5EF4-FFF2-40B4-BE49-F238E27FC236}">
                <a16:creationId xmlns:a16="http://schemas.microsoft.com/office/drawing/2014/main" id="{0B808E29-37DE-422B-84D2-A1C14ABC7046}"/>
              </a:ext>
            </a:extLst>
          </p:cNvPr>
          <p:cNvSpPr txBox="1"/>
          <p:nvPr/>
        </p:nvSpPr>
        <p:spPr>
          <a:xfrm>
            <a:off x="6269335" y="3060158"/>
            <a:ext cx="2511925" cy="21852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76200" tIns="76200" rIns="76200" bIns="76200" anchor="t">
            <a:spAutoFit/>
          </a:bodyPr>
          <a:lstStyle/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sz="1400"/>
              <a:t>Hosted IP Voice Lines (Cox Business </a:t>
            </a:r>
            <a:r>
              <a:rPr sz="1400" err="1"/>
              <a:t>VoiceManager</a:t>
            </a:r>
            <a:r>
              <a:rPr sz="1400" baseline="31999" err="1"/>
              <a:t>SM</a:t>
            </a:r>
            <a:r>
              <a:rPr sz="1400"/>
              <a:t>)</a:t>
            </a:r>
          </a:p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sz="1400"/>
              <a:t>Cloud-based Hosted PBX (Cox Business IP Centrex</a:t>
            </a:r>
            <a:r>
              <a:rPr lang="en-US" sz="1400"/>
              <a:t>)</a:t>
            </a:r>
          </a:p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1400"/>
              <a:t>Unified Communications</a:t>
            </a:r>
          </a:p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sz="1400"/>
              <a:t>SIP </a:t>
            </a:r>
            <a:r>
              <a:rPr sz="1400" err="1"/>
              <a:t>Trunking</a:t>
            </a:r>
            <a:endParaRPr sz="1400"/>
          </a:p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sz="1400"/>
              <a:t>PRI and Digital Trunk Services</a:t>
            </a:r>
          </a:p>
        </p:txBody>
      </p:sp>
      <p:sp>
        <p:nvSpPr>
          <p:cNvPr id="16" name="Shape 197">
            <a:extLst>
              <a:ext uri="{FF2B5EF4-FFF2-40B4-BE49-F238E27FC236}">
                <a16:creationId xmlns:a16="http://schemas.microsoft.com/office/drawing/2014/main" id="{FB8029B9-7EFF-4DB8-9A6B-2CCB06CE495B}"/>
              </a:ext>
            </a:extLst>
          </p:cNvPr>
          <p:cNvSpPr txBox="1"/>
          <p:nvPr/>
        </p:nvSpPr>
        <p:spPr>
          <a:xfrm>
            <a:off x="3301727" y="3060158"/>
            <a:ext cx="2603578" cy="30008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76200" tIns="76200" rIns="76200" bIns="76200" anchor="t">
            <a:spAutoFit/>
          </a:bodyPr>
          <a:lstStyle/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sz="1400"/>
              <a:t>Cox Business Internet</a:t>
            </a:r>
            <a:endParaRPr lang="en-US" sz="1400"/>
          </a:p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1400"/>
              <a:t>Cox Fiber Internet</a:t>
            </a:r>
            <a:endParaRPr sz="1400"/>
          </a:p>
          <a:p>
            <a:pPr marL="285750" marR="38100" indent="-285750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sz="1400"/>
              <a:t>Cox Optical </a:t>
            </a:r>
            <a:r>
              <a:rPr sz="1400" err="1"/>
              <a:t>Internet</a:t>
            </a:r>
            <a:r>
              <a:rPr lang="en-US" sz="1400" baseline="31999" err="1"/>
              <a:t>SM</a:t>
            </a:r>
            <a:endParaRPr lang="en-US" sz="1400" baseline="31999"/>
          </a:p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1400"/>
              <a:t>Managed Router+ </a:t>
            </a:r>
            <a:r>
              <a:rPr sz="1400"/>
              <a:t>Security</a:t>
            </a:r>
          </a:p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sz="1400"/>
              <a:t>Managed </a:t>
            </a:r>
            <a:r>
              <a:rPr sz="1400" err="1"/>
              <a:t>WiFi</a:t>
            </a:r>
            <a:endParaRPr sz="1400"/>
          </a:p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sz="1400"/>
              <a:t>Over 500,000 </a:t>
            </a:r>
            <a:r>
              <a:rPr sz="1400" err="1"/>
              <a:t>WiFi</a:t>
            </a:r>
            <a:r>
              <a:rPr sz="1400"/>
              <a:t> Hotspots</a:t>
            </a:r>
            <a:endParaRPr lang="en-US" sz="1400"/>
          </a:p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1400"/>
              <a:t>Metro Ethernet</a:t>
            </a:r>
          </a:p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1400"/>
              <a:t>Optical Wavelength Solutions</a:t>
            </a:r>
          </a:p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1400"/>
              <a:t>MPLS IP-VPN</a:t>
            </a:r>
          </a:p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1400"/>
              <a:t>SD-WAN</a:t>
            </a:r>
            <a:endParaRPr sz="1400"/>
          </a:p>
        </p:txBody>
      </p:sp>
      <p:sp>
        <p:nvSpPr>
          <p:cNvPr id="17" name="Shape 203">
            <a:extLst>
              <a:ext uri="{FF2B5EF4-FFF2-40B4-BE49-F238E27FC236}">
                <a16:creationId xmlns:a16="http://schemas.microsoft.com/office/drawing/2014/main" id="{5CAD5E52-4B74-445A-B277-368166EA1A7A}"/>
              </a:ext>
            </a:extLst>
          </p:cNvPr>
          <p:cNvSpPr txBox="1"/>
          <p:nvPr/>
        </p:nvSpPr>
        <p:spPr>
          <a:xfrm>
            <a:off x="568594" y="3060158"/>
            <a:ext cx="2496944" cy="28778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76200" tIns="76200" rIns="76200" bIns="76200" anchor="t">
            <a:spAutoFit/>
          </a:bodyPr>
          <a:lstStyle/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1400"/>
              <a:t>Cloud Desktop (</a:t>
            </a:r>
            <a:r>
              <a:rPr lang="en-US" sz="1400" err="1"/>
              <a:t>DaaS</a:t>
            </a:r>
            <a:r>
              <a:rPr lang="en-US" sz="1400"/>
              <a:t>)</a:t>
            </a:r>
            <a:endParaRPr sz="1400"/>
          </a:p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1400"/>
              <a:t>Cloud Server (IaaS)</a:t>
            </a:r>
          </a:p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1400"/>
              <a:t>Cloud Recovery</a:t>
            </a:r>
          </a:p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1400"/>
              <a:t>Cloud Backup</a:t>
            </a:r>
          </a:p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1400"/>
              <a:t>Cloud Security</a:t>
            </a:r>
          </a:p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1400"/>
              <a:t>Office 365</a:t>
            </a:r>
          </a:p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1400"/>
              <a:t>Premise Security Solutions</a:t>
            </a:r>
          </a:p>
          <a:p>
            <a:pPr marL="317500" marR="38100" indent="-317500" algn="l" defTabSz="457200">
              <a:lnSpc>
                <a:spcPts val="2800"/>
              </a:lnSpc>
              <a:spcBef>
                <a:spcPts val="2600"/>
              </a:spcBef>
              <a:buSzPct val="10000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endParaRPr/>
          </a:p>
        </p:txBody>
      </p:sp>
      <p:sp>
        <p:nvSpPr>
          <p:cNvPr id="18" name="Shape 201">
            <a:extLst>
              <a:ext uri="{FF2B5EF4-FFF2-40B4-BE49-F238E27FC236}">
                <a16:creationId xmlns:a16="http://schemas.microsoft.com/office/drawing/2014/main" id="{7AFCA6DB-F56F-4D82-AE44-A8DF285C7F9E}"/>
              </a:ext>
            </a:extLst>
          </p:cNvPr>
          <p:cNvSpPr txBox="1"/>
          <p:nvPr/>
        </p:nvSpPr>
        <p:spPr>
          <a:xfrm>
            <a:off x="9068122" y="3060158"/>
            <a:ext cx="2630102" cy="32073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76200" tIns="76200" rIns="76200" bIns="76200" anchor="t">
            <a:spAutoFit/>
          </a:bodyPr>
          <a:lstStyle/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sz="1400"/>
              <a:t>Digital and HD video services</a:t>
            </a:r>
          </a:p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sz="1400"/>
              <a:t>Private Office and Public Viewing</a:t>
            </a:r>
          </a:p>
          <a:p>
            <a:pPr marL="285750" marR="38100" indent="-285750" algn="l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sz="1400"/>
              <a:t>Business Packages:</a:t>
            </a:r>
            <a:endParaRPr lang="en-US" sz="1400"/>
          </a:p>
          <a:p>
            <a:pPr marL="742939" marR="38100" lvl="1" indent="-285750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1400"/>
              <a:t>Sports / News &amp; Info</a:t>
            </a:r>
          </a:p>
          <a:p>
            <a:pPr marL="742939" marR="38100" lvl="1" indent="-285750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1400"/>
              <a:t>Bulk Video</a:t>
            </a:r>
          </a:p>
          <a:p>
            <a:pPr marL="742939" marR="38100" lvl="1" indent="-285750" defTabSz="457200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lang="en-US" sz="1400"/>
              <a:t>HD Free to Guest</a:t>
            </a:r>
            <a:endParaRPr sz="1400"/>
          </a:p>
          <a:p>
            <a:pPr marR="38100" algn="l" defTabSz="457200">
              <a:lnSpc>
                <a:spcPts val="2800"/>
              </a:lnSpc>
              <a:spcBef>
                <a:spcPts val="2600"/>
              </a:spcBef>
              <a:tabLst>
                <a:tab pos="762000" algn="l"/>
              </a:tabLst>
              <a:defRPr sz="2200">
                <a:solidFill>
                  <a:srgbClr val="3D3834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br>
              <a:rPr sz="3600">
                <a:solidFill>
                  <a:srgbClr val="5E5E5E"/>
                </a:solidFill>
              </a:rPr>
            </a:br>
            <a:endParaRPr sz="3600">
              <a:solidFill>
                <a:srgbClr val="5E5E5E"/>
              </a:solidFill>
            </a:endParaRPr>
          </a:p>
        </p:txBody>
      </p:sp>
      <p:sp>
        <p:nvSpPr>
          <p:cNvPr id="19" name="Shape 195">
            <a:extLst>
              <a:ext uri="{FF2B5EF4-FFF2-40B4-BE49-F238E27FC236}">
                <a16:creationId xmlns:a16="http://schemas.microsoft.com/office/drawing/2014/main" id="{52DAE579-687F-4716-A941-6A20CAEEA2A7}"/>
              </a:ext>
            </a:extLst>
          </p:cNvPr>
          <p:cNvSpPr/>
          <p:nvPr/>
        </p:nvSpPr>
        <p:spPr>
          <a:xfrm flipH="1">
            <a:off x="6069039" y="1445226"/>
            <a:ext cx="0" cy="466344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0" name="Shape 195">
            <a:extLst>
              <a:ext uri="{FF2B5EF4-FFF2-40B4-BE49-F238E27FC236}">
                <a16:creationId xmlns:a16="http://schemas.microsoft.com/office/drawing/2014/main" id="{2F67BC88-1CD9-4FB9-B662-62B4064C9F22}"/>
              </a:ext>
            </a:extLst>
          </p:cNvPr>
          <p:cNvSpPr/>
          <p:nvPr/>
        </p:nvSpPr>
        <p:spPr>
          <a:xfrm flipH="1">
            <a:off x="8904115" y="1445226"/>
            <a:ext cx="0" cy="466344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pic>
        <p:nvPicPr>
          <p:cNvPr id="21" name="Graphic 20" descr="Cloud Computing">
            <a:extLst>
              <a:ext uri="{FF2B5EF4-FFF2-40B4-BE49-F238E27FC236}">
                <a16:creationId xmlns:a16="http://schemas.microsoft.com/office/drawing/2014/main" id="{7051C162-4264-4A39-B6BD-3380A3CD05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11241" y="1313845"/>
            <a:ext cx="914400" cy="914400"/>
          </a:xfrm>
          <a:prstGeom prst="rect">
            <a:avLst/>
          </a:prstGeom>
        </p:spPr>
      </p:pic>
      <p:pic>
        <p:nvPicPr>
          <p:cNvPr id="23" name="Graphic 22" descr="Laptop">
            <a:extLst>
              <a:ext uri="{FF2B5EF4-FFF2-40B4-BE49-F238E27FC236}">
                <a16:creationId xmlns:a16="http://schemas.microsoft.com/office/drawing/2014/main" id="{FC7FF82C-C536-46D9-8CEA-FEA916AFCD3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146316" y="1313845"/>
            <a:ext cx="914400" cy="914400"/>
          </a:xfrm>
          <a:prstGeom prst="rect">
            <a:avLst/>
          </a:prstGeom>
        </p:spPr>
      </p:pic>
      <p:pic>
        <p:nvPicPr>
          <p:cNvPr id="25" name="Graphic 24" descr="Speaker Phone">
            <a:extLst>
              <a:ext uri="{FF2B5EF4-FFF2-40B4-BE49-F238E27FC236}">
                <a16:creationId xmlns:a16="http://schemas.microsoft.com/office/drawing/2014/main" id="{77123540-3972-4233-B1F6-F774D110E16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068097" y="1313845"/>
            <a:ext cx="914400" cy="914400"/>
          </a:xfrm>
          <a:prstGeom prst="rect">
            <a:avLst/>
          </a:prstGeom>
        </p:spPr>
      </p:pic>
      <p:pic>
        <p:nvPicPr>
          <p:cNvPr id="27" name="Graphic 26" descr="Television">
            <a:extLst>
              <a:ext uri="{FF2B5EF4-FFF2-40B4-BE49-F238E27FC236}">
                <a16:creationId xmlns:a16="http://schemas.microsoft.com/office/drawing/2014/main" id="{AFA85CD1-9D49-4440-9EFF-2C0340959A9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925973" y="1313845"/>
            <a:ext cx="914400" cy="914400"/>
          </a:xfrm>
          <a:prstGeom prst="rect">
            <a:avLst/>
          </a:prstGeom>
        </p:spPr>
      </p:pic>
      <p:sp>
        <p:nvSpPr>
          <p:cNvPr id="28" name="Title 17">
            <a:extLst>
              <a:ext uri="{FF2B5EF4-FFF2-40B4-BE49-F238E27FC236}">
                <a16:creationId xmlns:a16="http://schemas.microsoft.com/office/drawing/2014/main" id="{D1C68A88-D4FF-4AEE-B9FD-CA03CFF9F9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76" y="167677"/>
            <a:ext cx="11204448" cy="897971"/>
          </a:xfrm>
        </p:spPr>
        <p:txBody>
          <a:bodyPr/>
          <a:lstStyle/>
          <a:p>
            <a:r>
              <a:rPr lang="en-US" sz="3600" b="1" cap="all">
                <a:latin typeface="Avenir Next LT Pro" panose="020B0504020202020204" pitchFamily="34" charset="0"/>
              </a:rPr>
              <a:t>Cox Business CORE Solutions</a:t>
            </a:r>
          </a:p>
        </p:txBody>
      </p:sp>
    </p:spTree>
    <p:extLst>
      <p:ext uri="{BB962C8B-B14F-4D97-AF65-F5344CB8AC3E}">
        <p14:creationId xmlns:p14="http://schemas.microsoft.com/office/powerpoint/2010/main" val="2420969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7" grpId="0" animBg="1"/>
      <p:bldP spid="10" grpId="0" animBg="1"/>
      <p:bldP spid="13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3" name="Title 2"/>
          <p:cNvSpPr txBox="1">
            <a:spLocks noGrp="1"/>
          </p:cNvSpPr>
          <p:nvPr>
            <p:ph type="title"/>
          </p:nvPr>
        </p:nvSpPr>
        <p:spPr>
          <a:xfrm>
            <a:off x="717" y="2308249"/>
            <a:ext cx="12190566" cy="2241502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  <a:defRPr>
                <a:latin typeface="Arial"/>
                <a:ea typeface="Arial"/>
                <a:cs typeface="Arial"/>
                <a:sym typeface="Arial"/>
              </a:defRPr>
            </a:pPr>
            <a:r>
              <a:rPr lang="en-US" sz="5400" b="1" dirty="0"/>
              <a:t>Education</a:t>
            </a:r>
            <a:r>
              <a:rPr sz="5400" b="1" dirty="0"/>
              <a:t> </a:t>
            </a:r>
            <a:r>
              <a:rPr lang="en-US" sz="5400" b="1" dirty="0"/>
              <a:t>Solutions</a:t>
            </a:r>
            <a:endParaRPr sz="5400" b="1" dirty="0"/>
          </a:p>
        </p:txBody>
      </p:sp>
      <p:pic>
        <p:nvPicPr>
          <p:cNvPr id="4" name="Picture 8" descr="Picture 8">
            <a:extLst>
              <a:ext uri="{FF2B5EF4-FFF2-40B4-BE49-F238E27FC236}">
                <a16:creationId xmlns:a16="http://schemas.microsoft.com/office/drawing/2014/main" id="{18E694BB-13AD-4DDF-9C4C-8E277E31542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4856" y="6241732"/>
            <a:ext cx="1910197" cy="368889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2">
            <a:extLst>
              <a:ext uri="{FF2B5EF4-FFF2-40B4-BE49-F238E27FC236}">
                <a16:creationId xmlns:a16="http://schemas.microsoft.com/office/drawing/2014/main" id="{D02F23C5-F060-4310-994E-444827C219D7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625" r="19625"/>
          <a:stretch/>
        </p:blipFill>
        <p:spPr/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440DE8-0665-496C-AA31-31C26A15F8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32600" y="1334280"/>
            <a:ext cx="4967224" cy="4855059"/>
          </a:xfrm>
        </p:spPr>
        <p:txBody>
          <a:bodyPr/>
          <a:lstStyle/>
          <a:p>
            <a:pPr lvl="3"/>
            <a:endParaRPr lang="en-US" dirty="0"/>
          </a:p>
          <a:p>
            <a:pPr lvl="3"/>
            <a:endParaRPr lang="en-US" dirty="0"/>
          </a:p>
          <a:p>
            <a:pPr lvl="3"/>
            <a:r>
              <a:rPr lang="en-US" sz="3600" b="0" dirty="0"/>
              <a:t>We are committed to bridging the digital divide for low income families with school aged children in our community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4B15530-2178-4F85-B4B6-1743A144EF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08585" y="170821"/>
            <a:ext cx="3015543" cy="1048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235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27USqSQu_IQ6SZpYG7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W.0lLYQ66KHBQEZvUy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0JgsF7QSmrHhxkPKhs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e8Ji8aR.6Z3ni65.IW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2q22U4wZL5_lRIbOa6.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YFuFfpSaSvxP8agrTsn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inu3kxMHs7s9it3eT9l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MYrks4rLbf1.b6FeR0S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MYrks4rLbf1.b6FeR0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b8ue2wSUaJnkKh0BKjC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tZqMT8TzG0FBxlzvKJ5Q"/>
</p:tagLst>
</file>

<file path=ppt/theme/theme1.xml><?xml version="1.0" encoding="utf-8"?>
<a:theme xmlns:a="http://schemas.openxmlformats.org/drawingml/2006/main" name="Cox Business 2019 Template (16x9)">
  <a:themeElements>
    <a:clrScheme name="Cox Business 2019">
      <a:dk1>
        <a:srgbClr val="000000"/>
      </a:dk1>
      <a:lt1>
        <a:srgbClr val="FFFFFF"/>
      </a:lt1>
      <a:dk2>
        <a:srgbClr val="455051"/>
      </a:dk2>
      <a:lt2>
        <a:srgbClr val="B9C9D2"/>
      </a:lt2>
      <a:accent1>
        <a:srgbClr val="009AE0"/>
      </a:accent1>
      <a:accent2>
        <a:srgbClr val="285A93"/>
      </a:accent2>
      <a:accent3>
        <a:srgbClr val="80D5F9"/>
      </a:accent3>
      <a:accent4>
        <a:srgbClr val="002F87"/>
      </a:accent4>
      <a:accent5>
        <a:srgbClr val="0F155B"/>
      </a:accent5>
      <a:accent6>
        <a:srgbClr val="828E96"/>
      </a:accent6>
      <a:hlink>
        <a:srgbClr val="009AE0"/>
      </a:hlink>
      <a:folHlink>
        <a:srgbClr val="7D55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1">
                <a:lumMod val="65000"/>
                <a:lumOff val="35000"/>
              </a:schemeClr>
            </a:solidFill>
            <a:latin typeface="+mj-lt"/>
          </a:defRPr>
        </a:defPPr>
      </a:lstStyle>
    </a:txDef>
  </a:objectDefaults>
  <a:extraClrSchemeLst/>
  <a:custClrLst>
    <a:custClr name="COX Custom Orange">
      <a:srgbClr val="FC9318"/>
    </a:custClr>
    <a:custClr name="COX Custom Red">
      <a:srgbClr val="CD0000"/>
    </a:custClr>
    <a:custClr name="COX Custom Purple">
      <a:srgbClr val="7D55A0"/>
    </a:custClr>
  </a:custClrLst>
  <a:extLst>
    <a:ext uri="{05A4C25C-085E-4340-85A3-A5531E510DB2}">
      <thm15:themeFamily xmlns:thm15="http://schemas.microsoft.com/office/thememl/2012/main" name="Cox Business 2019 Template (16x9).potx" id="{863B698E-7721-4807-A0ED-7AF68BB7B601}" vid="{513D6133-AFE4-42AC-AEE9-4BBF94F9560F}"/>
    </a:ext>
  </a:extLst>
</a:theme>
</file>

<file path=ppt/theme/theme2.xml><?xml version="1.0" encoding="utf-8"?>
<a:theme xmlns:a="http://schemas.openxmlformats.org/drawingml/2006/main" name="Cox Communications 2019 Template (16x9)">
  <a:themeElements>
    <a:clrScheme name="Cox Communications 2019">
      <a:dk1>
        <a:srgbClr val="000000"/>
      </a:dk1>
      <a:lt1>
        <a:srgbClr val="FFFFFF"/>
      </a:lt1>
      <a:dk2>
        <a:srgbClr val="455051"/>
      </a:dk2>
      <a:lt2>
        <a:srgbClr val="B9C9D2"/>
      </a:lt2>
      <a:accent1>
        <a:srgbClr val="009AE0"/>
      </a:accent1>
      <a:accent2>
        <a:srgbClr val="285A93"/>
      </a:accent2>
      <a:accent3>
        <a:srgbClr val="00A846"/>
      </a:accent3>
      <a:accent4>
        <a:srgbClr val="127C65"/>
      </a:accent4>
      <a:accent5>
        <a:srgbClr val="028399"/>
      </a:accent5>
      <a:accent6>
        <a:srgbClr val="828E96"/>
      </a:accent6>
      <a:hlink>
        <a:srgbClr val="009AE0"/>
      </a:hlink>
      <a:folHlink>
        <a:srgbClr val="7D55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1">
                <a:lumMod val="65000"/>
                <a:lumOff val="35000"/>
              </a:schemeClr>
            </a:solidFill>
            <a:latin typeface="+mj-lt"/>
          </a:defRPr>
        </a:defPPr>
      </a:lstStyle>
    </a:txDef>
  </a:objectDefaults>
  <a:extraClrSchemeLst/>
  <a:custClrLst>
    <a:custClr name="COX Custom Orange">
      <a:srgbClr val="FC9318"/>
    </a:custClr>
    <a:custClr name="COX Custom Red">
      <a:srgbClr val="CD0000"/>
    </a:custClr>
    <a:custClr name="COX Custom Purple">
      <a:srgbClr val="7D55A0"/>
    </a:custClr>
  </a:custClrLst>
  <a:extLst>
    <a:ext uri="{05A4C25C-085E-4340-85A3-A5531E510DB2}">
      <thm15:themeFamily xmlns:thm15="http://schemas.microsoft.com/office/thememl/2012/main" name="Office Theme" id="{7C44F730-0DCC-4F6B-9774-F5D59B0B0284}" vid="{0757259E-854C-4462-8D68-7D72250E9CC8}"/>
    </a:ext>
  </a:extLst>
</a:theme>
</file>

<file path=ppt/theme/theme3.xml><?xml version="1.0" encoding="utf-8"?>
<a:theme xmlns:a="http://schemas.openxmlformats.org/drawingml/2006/main" name="8_Cox Business 2019 Template (16x9)">
  <a:themeElements>
    <a:clrScheme name="Cox Business 2019">
      <a:dk1>
        <a:srgbClr val="000000"/>
      </a:dk1>
      <a:lt1>
        <a:srgbClr val="FFFFFF"/>
      </a:lt1>
      <a:dk2>
        <a:srgbClr val="455051"/>
      </a:dk2>
      <a:lt2>
        <a:srgbClr val="B9C9D2"/>
      </a:lt2>
      <a:accent1>
        <a:srgbClr val="009AE0"/>
      </a:accent1>
      <a:accent2>
        <a:srgbClr val="285A93"/>
      </a:accent2>
      <a:accent3>
        <a:srgbClr val="80D5F9"/>
      </a:accent3>
      <a:accent4>
        <a:srgbClr val="002F87"/>
      </a:accent4>
      <a:accent5>
        <a:srgbClr val="0F155B"/>
      </a:accent5>
      <a:accent6>
        <a:srgbClr val="828E96"/>
      </a:accent6>
      <a:hlink>
        <a:srgbClr val="009AE0"/>
      </a:hlink>
      <a:folHlink>
        <a:srgbClr val="7D55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1">
                <a:lumMod val="65000"/>
                <a:lumOff val="35000"/>
              </a:schemeClr>
            </a:solidFill>
            <a:latin typeface="+mj-lt"/>
          </a:defRPr>
        </a:defPPr>
      </a:lstStyle>
    </a:txDef>
  </a:objectDefaults>
  <a:extraClrSchemeLst/>
  <a:custClrLst>
    <a:custClr name="COX Custom Orange">
      <a:srgbClr val="FC9318"/>
    </a:custClr>
    <a:custClr name="COX Custom Red">
      <a:srgbClr val="CD0000"/>
    </a:custClr>
    <a:custClr name="COX Custom Purple">
      <a:srgbClr val="7D55A0"/>
    </a:custClr>
  </a:custClrLst>
  <a:extLst>
    <a:ext uri="{05A4C25C-085E-4340-85A3-A5531E510DB2}">
      <thm15:themeFamily xmlns:thm15="http://schemas.microsoft.com/office/thememl/2012/main" name="Cox Business 2019 Template (16x9).potx" id="{863B698E-7721-4807-A0ED-7AF68BB7B601}" vid="{513D6133-AFE4-42AC-AEE9-4BBF94F9560F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526A8471502CD4691C39088891971DA" ma:contentTypeVersion="14" ma:contentTypeDescription="Create a new document." ma:contentTypeScope="" ma:versionID="624e0f017627bc8cb2d548500e58dcdb">
  <xsd:schema xmlns:xsd="http://www.w3.org/2001/XMLSchema" xmlns:xs="http://www.w3.org/2001/XMLSchema" xmlns:p="http://schemas.microsoft.com/office/2006/metadata/properties" xmlns:ns1="http://schemas.microsoft.com/sharepoint/v3" xmlns:ns3="0826c325-b95b-495a-a269-920d596a042f" xmlns:ns4="189a5122-cd8a-4f1b-95e9-bd5e6f0f2a33" targetNamespace="http://schemas.microsoft.com/office/2006/metadata/properties" ma:root="true" ma:fieldsID="ea75641c4c19964aa5e7f8d2345a8100" ns1:_="" ns3:_="" ns4:_="">
    <xsd:import namespace="http://schemas.microsoft.com/sharepoint/v3"/>
    <xsd:import namespace="0826c325-b95b-495a-a269-920d596a042f"/>
    <xsd:import namespace="189a5122-cd8a-4f1b-95e9-bd5e6f0f2a3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1:_ip_UnifiedCompliancePolicyProperties" minOccurs="0"/>
                <xsd:element ref="ns1:_ip_UnifiedCompliancePolicyUIAction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0" nillable="true" ma:displayName="Unified Compliance Policy Properties" ma:description="" ma:hidden="true" ma:internalName="_ip_UnifiedCompliancePolicyProperties">
      <xsd:simpleType>
        <xsd:restriction base="dms:Note"/>
      </xsd:simpleType>
    </xsd:element>
    <xsd:element name="_ip_UnifiedCompliancePolicyUIAction" ma:index="11" nillable="true" ma:displayName="Unified Compliance Policy UI Action" ma:description="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26c325-b95b-495a-a269-920d596a042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9a5122-cd8a-4f1b-95e9-bd5e6f0f2a33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74C4773-EA94-4273-AE6A-0DFA644EFCF5}">
  <ds:schemaRefs>
    <ds:schemaRef ds:uri="http://purl.org/dc/dcmitype/"/>
    <ds:schemaRef ds:uri="http://schemas.microsoft.com/office/infopath/2007/PartnerControls"/>
    <ds:schemaRef ds:uri="189a5122-cd8a-4f1b-95e9-bd5e6f0f2a33"/>
    <ds:schemaRef ds:uri="http://schemas.microsoft.com/office/2006/documentManagement/types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0826c325-b95b-495a-a269-920d596a042f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8C6D6D79-32CD-406A-8608-567364EC8DE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9907EE9-D0CA-49F7-9559-DB52F10AD0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826c325-b95b-495a-a269-920d596a042f"/>
    <ds:schemaRef ds:uri="189a5122-cd8a-4f1b-95e9-bd5e6f0f2a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x Business 2019 Template (16x9)</Template>
  <TotalTime>23816</TotalTime>
  <Words>2347</Words>
  <Application>Microsoft Office PowerPoint</Application>
  <PresentationFormat>Widescreen</PresentationFormat>
  <Paragraphs>443</Paragraphs>
  <Slides>29</Slides>
  <Notes>15</Notes>
  <HiddenSlides>0</HiddenSlides>
  <MMClips>1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50" baseType="lpstr">
      <vt:lpstr>Arial</vt:lpstr>
      <vt:lpstr>Avenir Next</vt:lpstr>
      <vt:lpstr>Avenir Next LT Pro</vt:lpstr>
      <vt:lpstr>Calibri</vt:lpstr>
      <vt:lpstr>Calibri Light</vt:lpstr>
      <vt:lpstr>Cera Pro</vt:lpstr>
      <vt:lpstr>CERAPRO-LIGHT</vt:lpstr>
      <vt:lpstr>Courier New</vt:lpstr>
      <vt:lpstr>MetaMediumLF-Roman</vt:lpstr>
      <vt:lpstr>Montserrat</vt:lpstr>
      <vt:lpstr>Proxima Nova</vt:lpstr>
      <vt:lpstr>Proxima Nova Black</vt:lpstr>
      <vt:lpstr>Segoe UI</vt:lpstr>
      <vt:lpstr>Symbol</vt:lpstr>
      <vt:lpstr>Times New Roman</vt:lpstr>
      <vt:lpstr>Verdana</vt:lpstr>
      <vt:lpstr>Wingdings</vt:lpstr>
      <vt:lpstr>Cox Business 2019 Template (16x9)</vt:lpstr>
      <vt:lpstr>Cox Communications 2019 Template (16x9)</vt:lpstr>
      <vt:lpstr>8_Cox Business 2019 Template (16x9)</vt:lpstr>
      <vt:lpstr>think-cell Slide</vt:lpstr>
      <vt:lpstr>PowerPoint Presentation</vt:lpstr>
      <vt:lpstr>PowerPoint Presentation</vt:lpstr>
      <vt:lpstr>Cox business STRATEGIC INVESTMENTS</vt:lpstr>
      <vt:lpstr>Community investment</vt:lpstr>
      <vt:lpstr>PowerPoint Presentation</vt:lpstr>
      <vt:lpstr>Cox Business Global Network</vt:lpstr>
      <vt:lpstr>Cox Business CORE Solutions</vt:lpstr>
      <vt:lpstr>Education Solutions</vt:lpstr>
      <vt:lpstr>PowerPoint Presentation</vt:lpstr>
      <vt:lpstr>Connect2Compete Overview</vt:lpstr>
      <vt:lpstr>COVID-19 Response</vt:lpstr>
      <vt:lpstr>Active Products</vt:lpstr>
      <vt:lpstr>CARES ACT Residential Internet Solutions: Speed Increase</vt:lpstr>
      <vt:lpstr>District Process</vt:lpstr>
      <vt:lpstr>PowerPoint Presentation</vt:lpstr>
      <vt:lpstr>Managed device as a Service</vt:lpstr>
      <vt:lpstr>Device Selection</vt:lpstr>
      <vt:lpstr>Device pricing</vt:lpstr>
      <vt:lpstr>Device imaging, kitting, and shipping</vt:lpstr>
      <vt:lpstr>Cox Wireless Network Product Set</vt:lpstr>
      <vt:lpstr>Mobile Private Networks : Value Chain</vt:lpstr>
      <vt:lpstr>Full Stack Solution : Cox + Partners </vt:lpstr>
      <vt:lpstr>Why Cox? : Cox Advantages</vt:lpstr>
      <vt:lpstr>Smart Communities Solution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 (for Printing)</dc:title>
  <dc:creator>Ruth, Jared (CCI-California)</dc:creator>
  <cp:lastModifiedBy>Carl, Eugene A. (CCI-Southwest)</cp:lastModifiedBy>
  <cp:revision>12</cp:revision>
  <cp:lastPrinted>2020-01-13T19:16:33Z</cp:lastPrinted>
  <dcterms:created xsi:type="dcterms:W3CDTF">2019-02-12T20:43:01Z</dcterms:created>
  <dcterms:modified xsi:type="dcterms:W3CDTF">2021-02-22T14:25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26A8471502CD4691C39088891971DA</vt:lpwstr>
  </property>
</Properties>
</file>